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0"/>
  </p:notesMasterIdLst>
  <p:sldIdLst>
    <p:sldId id="257" r:id="rId2"/>
    <p:sldId id="314" r:id="rId3"/>
    <p:sldId id="317" r:id="rId4"/>
    <p:sldId id="309" r:id="rId5"/>
    <p:sldId id="259" r:id="rId6"/>
    <p:sldId id="318" r:id="rId7"/>
    <p:sldId id="319" r:id="rId8"/>
    <p:sldId id="326" r:id="rId9"/>
    <p:sldId id="327" r:id="rId10"/>
    <p:sldId id="328" r:id="rId11"/>
    <p:sldId id="329" r:id="rId12"/>
    <p:sldId id="331" r:id="rId13"/>
    <p:sldId id="332" r:id="rId14"/>
    <p:sldId id="334" r:id="rId15"/>
    <p:sldId id="335" r:id="rId16"/>
    <p:sldId id="336" r:id="rId17"/>
    <p:sldId id="337" r:id="rId18"/>
    <p:sldId id="338" r:id="rId19"/>
    <p:sldId id="339" r:id="rId20"/>
    <p:sldId id="358" r:id="rId21"/>
    <p:sldId id="362" r:id="rId22"/>
    <p:sldId id="363" r:id="rId23"/>
    <p:sldId id="364" r:id="rId24"/>
    <p:sldId id="387" r:id="rId25"/>
    <p:sldId id="365" r:id="rId26"/>
    <p:sldId id="388" r:id="rId27"/>
    <p:sldId id="389" r:id="rId28"/>
    <p:sldId id="366" r:id="rId29"/>
    <p:sldId id="367" r:id="rId30"/>
    <p:sldId id="372" r:id="rId31"/>
    <p:sldId id="374" r:id="rId32"/>
    <p:sldId id="395" r:id="rId33"/>
    <p:sldId id="393" r:id="rId34"/>
    <p:sldId id="396" r:id="rId35"/>
    <p:sldId id="394" r:id="rId36"/>
    <p:sldId id="397" r:id="rId37"/>
    <p:sldId id="381" r:id="rId38"/>
    <p:sldId id="386" r:id="rId39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FF"/>
    <a:srgbClr val="FFFFFA"/>
    <a:srgbClr val="3399FF"/>
    <a:srgbClr val="663300"/>
    <a:srgbClr val="FFCC99"/>
    <a:srgbClr val="DDDDDD"/>
    <a:srgbClr val="C0C0C0"/>
    <a:srgbClr val="B2B2B2"/>
    <a:srgbClr val="969696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17" autoAdjust="0"/>
    <p:restoredTop sz="83188" autoAdjust="0"/>
  </p:normalViewPr>
  <p:slideViewPr>
    <p:cSldViewPr showGuides="1">
      <p:cViewPr>
        <p:scale>
          <a:sx n="78" d="100"/>
          <a:sy n="78" d="100"/>
        </p:scale>
        <p:origin x="-2766" y="-498"/>
      </p:cViewPr>
      <p:guideLst>
        <p:guide orient="horz" pos="2160"/>
        <p:guide orient="horz" pos="482"/>
        <p:guide orient="horz" pos="3838"/>
        <p:guide orient="horz" pos="1026"/>
        <p:guide pos="2880"/>
        <p:guide pos="295"/>
        <p:guide pos="54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ru-RU"/>
          </a:p>
        </p:txBody>
      </p:sp>
      <p:sp>
        <p:nvSpPr>
          <p:cNvPr id="716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16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716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716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67373AAF-C48E-41EF-8EE2-09E06BCA7F4A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62422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373AAF-C48E-41EF-8EE2-09E06BCA7F4A}" type="slidenum">
              <a:rPr lang="ru-RU" smtClean="0"/>
              <a:pPr/>
              <a:t>1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373AAF-C48E-41EF-8EE2-09E06BCA7F4A}" type="slidenum">
              <a:rPr lang="ru-RU" smtClean="0"/>
              <a:pPr/>
              <a:t>26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sz="1000" dirty="0" smtClean="0">
                <a:solidFill>
                  <a:srgbClr val="000000"/>
                </a:solidFill>
              </a:rPr>
              <a:t>Кроме того, для биологических препаратов характерна высокая сложность структуры действующего вещества. Фактически, только живые организмы способны воспроизводить структуры такого уровня. Но их сложность, а также способ их производства может привести к ощутимым различиям в структуре молекул одних и тех же действующих веществ, даже в пределах разных серий одного препарата. Поэтому, для многих биопрепаратов, поскольку их структура еще не может быть определена, очень важную роль играет постоянство процесса производства.</a:t>
            </a:r>
          </a:p>
          <a:p>
            <a:r>
              <a:rPr lang="ru-RU" sz="1000" dirty="0" smtClean="0"/>
              <a:t>Так, например, текущая редакция Европейской Фармакопеи прямо указывает, что на сегодняшний день состав низкомолекулярного гепарина еще окончательно не установлен. В частности, до конца не известен состав фракции олигосахаридов, состоящих из более чем 13 сахаров. При этом, в общей структуре данная фракция составляет не менее 30%. Поэтому здесь трудно говорить об идентичности </a:t>
            </a:r>
            <a:r>
              <a:rPr lang="ru-RU" sz="1000" dirty="0" err="1" smtClean="0"/>
              <a:t>биоаналога</a:t>
            </a:r>
            <a:r>
              <a:rPr lang="ru-RU" sz="1000" dirty="0" smtClean="0"/>
              <a:t>, если структура оригинального препарата еще до конца не изучена.</a:t>
            </a:r>
          </a:p>
          <a:p>
            <a:r>
              <a:rPr lang="ru-RU" sz="1000" dirty="0" smtClean="0"/>
              <a:t>В связи с этим, можно говорить о том, что разные препараты низкомолекулярных гепаринов, ввиду такой своей природной </a:t>
            </a:r>
            <a:r>
              <a:rPr lang="ru-RU" sz="1000" dirty="0" err="1" smtClean="0"/>
              <a:t>гетерогенности</a:t>
            </a:r>
            <a:r>
              <a:rPr lang="ru-RU" sz="1000" dirty="0" smtClean="0"/>
              <a:t>, могут значительно отличаться по степени выраженности </a:t>
            </a:r>
            <a:r>
              <a:rPr lang="ru-RU" sz="1000" dirty="0" err="1" smtClean="0"/>
              <a:t>антитромботического</a:t>
            </a:r>
            <a:r>
              <a:rPr lang="ru-RU" sz="1000" dirty="0" smtClean="0"/>
              <a:t> эффекта. 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8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750B2200-338D-47D0-B552-BA4A7E35143C}" type="slidenum">
              <a:rPr lang="fr-FR" smtClean="0"/>
              <a:pPr/>
              <a:t>35</a:t>
            </a:fld>
            <a:endParaRPr lang="fr-FR" smtClean="0"/>
          </a:p>
        </p:txBody>
      </p:sp>
      <p:sp>
        <p:nvSpPr>
          <p:cNvPr id="49155" name="Text Box 1"/>
          <p:cNvSpPr txBox="1">
            <a:spLocks noChangeArrowheads="1"/>
          </p:cNvSpPr>
          <p:nvPr/>
        </p:nvSpPr>
        <p:spPr bwMode="auto">
          <a:xfrm>
            <a:off x="3883991" y="8687904"/>
            <a:ext cx="2972392" cy="45609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6177" tIns="48089" rIns="96177" bIns="48089" anchor="b"/>
          <a:lstStyle/>
          <a:p>
            <a:pPr algn="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fld id="{800DB4DA-513F-46D4-8D67-7628EAF16E3A}" type="slidenum">
              <a:rPr lang="fr-FR" sz="1300">
                <a:solidFill>
                  <a:srgbClr val="000000"/>
                </a:solidFill>
                <a:latin typeface="Times New Roman" pitchFamily="18" charset="0"/>
              </a:rPr>
              <a:pPr algn="r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</a:pPr>
              <a:t>35</a:t>
            </a:fld>
            <a:endParaRPr lang="fr-FR" sz="13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9156" name="Text Box 2"/>
          <p:cNvSpPr txBox="1">
            <a:spLocks noChangeArrowheads="1"/>
          </p:cNvSpPr>
          <p:nvPr/>
        </p:nvSpPr>
        <p:spPr bwMode="auto">
          <a:xfrm>
            <a:off x="0" y="8687904"/>
            <a:ext cx="2972393" cy="45609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6177" tIns="48089" rIns="96177" bIns="48089" anchor="b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fr-FR" sz="13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9157" name="Text Box 3"/>
          <p:cNvSpPr txBox="1">
            <a:spLocks noChangeArrowheads="1"/>
          </p:cNvSpPr>
          <p:nvPr/>
        </p:nvSpPr>
        <p:spPr bwMode="auto">
          <a:xfrm>
            <a:off x="0" y="0"/>
            <a:ext cx="2972393" cy="45609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6177" tIns="48089" rIns="96177" bIns="48089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fr-FR" sz="13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9158" name="Text Box 4"/>
          <p:cNvSpPr txBox="1">
            <a:spLocks noChangeArrowheads="1"/>
          </p:cNvSpPr>
          <p:nvPr/>
        </p:nvSpPr>
        <p:spPr bwMode="auto">
          <a:xfrm>
            <a:off x="3883991" y="0"/>
            <a:ext cx="2972392" cy="45609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6177" tIns="48089" rIns="96177" bIns="48089"/>
          <a:lstStyle/>
          <a:p>
            <a:pPr algn="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fr-FR" sz="13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9159" name="Text Box 5"/>
          <p:cNvSpPr txBox="1">
            <a:spLocks noChangeArrowheads="1"/>
          </p:cNvSpPr>
          <p:nvPr/>
        </p:nvSpPr>
        <p:spPr bwMode="auto">
          <a:xfrm>
            <a:off x="1095858" y="798905"/>
            <a:ext cx="4664668" cy="3204446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89812" tIns="44906" rIns="89812" bIns="44906" anchor="ctr"/>
          <a:lstStyle/>
          <a:p>
            <a:endParaRPr lang="ru-RU"/>
          </a:p>
        </p:txBody>
      </p:sp>
      <p:sp>
        <p:nvSpPr>
          <p:cNvPr id="49160" name="Text Box 6"/>
          <p:cNvSpPr>
            <a:spLocks noGrp="1" noChangeArrowheads="1"/>
          </p:cNvSpPr>
          <p:nvPr>
            <p:ph type="body"/>
          </p:nvPr>
        </p:nvSpPr>
        <p:spPr>
          <a:xfrm>
            <a:off x="914832" y="4346158"/>
            <a:ext cx="5026721" cy="3850338"/>
          </a:xfrm>
          <a:noFill/>
        </p:spPr>
        <p:txBody>
          <a:bodyPr lIns="96177" tIns="48089" rIns="96177" bIns="48089"/>
          <a:lstStyle/>
          <a:p>
            <a:pPr eaLnBrk="1" hangingPunct="1">
              <a:spcBef>
                <a:spcPts val="438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mtClean="0">
                <a:solidFill>
                  <a:srgbClr val="000000"/>
                </a:solidFill>
                <a:latin typeface="Times New Roman" pitchFamily="18" charset="0"/>
                <a:cs typeface="Arial" charset="0"/>
              </a:rPr>
              <a:t>Еще один подход к анализу состава действующих веществ – изучение распределения молекулярной массы эноксапаринов разных производителей. Были обнаружены небольшие различия между биоаналогами и оригинальным препаратом, которые не выходили за рамки спецификаций оригинального эноксапарина</a:t>
            </a:r>
            <a:r>
              <a:rPr lang="en-US" smtClean="0">
                <a:solidFill>
                  <a:srgbClr val="000000"/>
                </a:solidFill>
                <a:latin typeface="Times New Roman" pitchFamily="18" charset="0"/>
                <a:cs typeface="Arial" charset="0"/>
              </a:rPr>
              <a:t>.</a:t>
            </a:r>
          </a:p>
          <a:p>
            <a:pPr eaLnBrk="1" hangingPunct="1">
              <a:spcBef>
                <a:spcPts val="438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mtClean="0">
                <a:solidFill>
                  <a:srgbClr val="000000"/>
                </a:solidFill>
                <a:latin typeface="Times New Roman" pitchFamily="18" charset="0"/>
                <a:cs typeface="Arial" charset="0"/>
              </a:rPr>
              <a:t>Тем не менее, определяется существенная вариабельность при анализе разных партий одного препарата (3 партии Кутенокса), что может подвергнуть сомнению предсказуемость и воспроизводимость его терапевтических эффектов</a:t>
            </a:r>
            <a:r>
              <a:rPr lang="en-US" smtClean="0">
                <a:solidFill>
                  <a:srgbClr val="000000"/>
                </a:solidFill>
                <a:latin typeface="Times New Roman" pitchFamily="18" charset="0"/>
                <a:cs typeface="Arial" charset="0"/>
              </a:rPr>
              <a:t>. </a:t>
            </a:r>
          </a:p>
          <a:p>
            <a:pPr eaLnBrk="1" hangingPunct="1">
              <a:spcBef>
                <a:spcPts val="438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US" smtClean="0">
              <a:solidFill>
                <a:srgbClr val="000000"/>
              </a:solidFill>
              <a:latin typeface="Times New Roman" pitchFamily="18" charset="0"/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27632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50329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44497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44497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04846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44497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18075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5150" y="304800"/>
            <a:ext cx="662305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55650" y="1628775"/>
            <a:ext cx="7734300" cy="417671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046913" y="651986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B05881-205D-443E-9342-5E9BB843D2E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8334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680312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3124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3124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80312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1271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65886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74392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044445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3854664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18488" cy="490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628775"/>
            <a:ext cx="8207376" cy="31202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</p:txBody>
      </p:sp>
      <p:sp>
        <p:nvSpPr>
          <p:cNvPr id="1031" name="Rectangle 7"/>
          <p:cNvSpPr>
            <a:spLocks noChangeArrowheads="1"/>
          </p:cNvSpPr>
          <p:nvPr userDrawn="1"/>
        </p:nvSpPr>
        <p:spPr bwMode="auto">
          <a:xfrm>
            <a:off x="0" y="0"/>
            <a:ext cx="179388" cy="1628775"/>
          </a:xfrm>
          <a:prstGeom prst="rect">
            <a:avLst/>
          </a:prstGeom>
          <a:solidFill>
            <a:srgbClr val="663300"/>
          </a:solidFill>
          <a:ln>
            <a:noFill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1032" name="Rectangle 8"/>
          <p:cNvSpPr>
            <a:spLocks noChangeArrowheads="1"/>
          </p:cNvSpPr>
          <p:nvPr userDrawn="1"/>
        </p:nvSpPr>
        <p:spPr bwMode="auto">
          <a:xfrm>
            <a:off x="0" y="6237288"/>
            <a:ext cx="9144000" cy="620712"/>
          </a:xfrm>
          <a:prstGeom prst="rect">
            <a:avLst/>
          </a:prstGeom>
          <a:solidFill>
            <a:schemeClr val="bg1">
              <a:lumMod val="9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1033" name="Rectangle 9"/>
          <p:cNvSpPr>
            <a:spLocks noChangeArrowheads="1"/>
          </p:cNvSpPr>
          <p:nvPr userDrawn="1"/>
        </p:nvSpPr>
        <p:spPr bwMode="auto">
          <a:xfrm>
            <a:off x="0" y="6092825"/>
            <a:ext cx="9144000" cy="144463"/>
          </a:xfrm>
          <a:prstGeom prst="rect">
            <a:avLst/>
          </a:prstGeom>
          <a:solidFill>
            <a:srgbClr val="663300"/>
          </a:solidFill>
          <a:ln>
            <a:noFill/>
          </a:ln>
          <a:effectLst/>
        </p:spPr>
        <p:txBody>
          <a:bodyPr wrap="none" anchor="ctr"/>
          <a:lstStyle/>
          <a:p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Wingdings" pitchFamily="2" charset="2"/>
        <a:buChar char="ü"/>
        <a:defRPr sz="20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7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Microsoft_Excel_97-2003_Worksheet1.xls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7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" y="-9615"/>
            <a:ext cx="9140992" cy="6102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37581" y="6237312"/>
            <a:ext cx="8229600" cy="355551"/>
          </a:xfrm>
        </p:spPr>
        <p:txBody>
          <a:bodyPr/>
          <a:lstStyle/>
          <a:p>
            <a:pPr algn="r">
              <a:buNone/>
            </a:pPr>
            <a:r>
              <a:rPr lang="ru-RU" b="1" dirty="0" smtClean="0">
                <a:solidFill>
                  <a:srgbClr val="66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Е</a:t>
            </a:r>
            <a:r>
              <a:rPr lang="ru-RU" b="1" dirty="0">
                <a:solidFill>
                  <a:srgbClr val="66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 М. </a:t>
            </a:r>
            <a:r>
              <a:rPr lang="ru-RU" b="1" dirty="0" err="1">
                <a:solidFill>
                  <a:srgbClr val="66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Шифман</a:t>
            </a:r>
            <a:endParaRPr lang="ru-RU" b="1" dirty="0">
              <a:solidFill>
                <a:srgbClr val="6633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516"/>
          <p:cNvSpPr>
            <a:spLocks noChangeArrowheads="1"/>
          </p:cNvSpPr>
          <p:nvPr/>
        </p:nvSpPr>
        <p:spPr bwMode="auto">
          <a:xfrm>
            <a:off x="477574" y="1619071"/>
            <a:ext cx="8229600" cy="1809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3200" b="1" dirty="0">
                <a:solidFill>
                  <a:schemeClr val="bg1"/>
                </a:solidFill>
                <a:latin typeface="Times New Roman" pitchFamily="18" charset="0"/>
              </a:rPr>
              <a:t>Беременность, искусственные клапаны </a:t>
            </a:r>
            <a:r>
              <a:rPr lang="en-US" sz="3200" b="1" dirty="0" smtClean="0">
                <a:solidFill>
                  <a:schemeClr val="bg1"/>
                </a:solidFill>
                <a:latin typeface="Times New Roman" pitchFamily="18" charset="0"/>
              </a:rPr>
              <a:t/>
            </a:r>
            <a:br>
              <a:rPr lang="en-US" sz="3200" b="1" dirty="0" smtClean="0">
                <a:solidFill>
                  <a:schemeClr val="bg1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bg1"/>
                </a:solidFill>
                <a:latin typeface="Times New Roman" pitchFamily="18" charset="0"/>
              </a:rPr>
              <a:t>и </a:t>
            </a:r>
            <a:r>
              <a:rPr lang="ru-RU" sz="3200" b="1" dirty="0" err="1">
                <a:solidFill>
                  <a:schemeClr val="bg1"/>
                </a:solidFill>
                <a:latin typeface="Times New Roman" pitchFamily="18" charset="0"/>
              </a:rPr>
              <a:t>антикоагулянтная</a:t>
            </a:r>
            <a:r>
              <a:rPr lang="ru-RU" sz="3200" b="1" dirty="0">
                <a:solidFill>
                  <a:schemeClr val="bg1"/>
                </a:solidFill>
                <a:latin typeface="Times New Roman" pitchFamily="18" charset="0"/>
              </a:rPr>
              <a:t> терапия </a:t>
            </a:r>
            <a:r>
              <a:rPr lang="en-US" sz="3200" b="1" dirty="0" smtClean="0">
                <a:solidFill>
                  <a:schemeClr val="bg1"/>
                </a:solidFill>
                <a:latin typeface="Times New Roman" pitchFamily="18" charset="0"/>
              </a:rPr>
              <a:t>–</a:t>
            </a:r>
            <a:r>
              <a:rPr lang="ru-RU" sz="3200" b="1" dirty="0" smtClean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ru-RU" sz="3200" b="1" dirty="0">
                <a:solidFill>
                  <a:schemeClr val="bg1"/>
                </a:solidFill>
                <a:latin typeface="Times New Roman" pitchFamily="18" charset="0"/>
              </a:rPr>
              <a:t>развивающийся поиск для безопасного </a:t>
            </a:r>
            <a:r>
              <a:rPr lang="en-US" sz="3200" b="1" dirty="0" smtClean="0">
                <a:solidFill>
                  <a:schemeClr val="bg1"/>
                </a:solidFill>
                <a:latin typeface="Times New Roman" pitchFamily="18" charset="0"/>
              </a:rPr>
              <a:t/>
            </a:r>
            <a:br>
              <a:rPr lang="en-US" sz="3200" b="1" dirty="0" smtClean="0">
                <a:solidFill>
                  <a:schemeClr val="bg1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bg1"/>
                </a:solidFill>
                <a:latin typeface="Times New Roman" pitchFamily="18" charset="0"/>
              </a:rPr>
              <a:t>и </a:t>
            </a:r>
            <a:r>
              <a:rPr lang="ru-RU" sz="3200" b="1" dirty="0">
                <a:solidFill>
                  <a:schemeClr val="bg1"/>
                </a:solidFill>
                <a:latin typeface="Times New Roman" pitchFamily="18" charset="0"/>
              </a:rPr>
              <a:t>эффективного лечения</a:t>
            </a:r>
          </a:p>
        </p:txBody>
      </p:sp>
      <p:pic>
        <p:nvPicPr>
          <p:cNvPr id="7" name="Picture 5" descr="D:\inteltek\Slaids\2014\07\31\cover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3933056"/>
            <a:ext cx="1754880" cy="1891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2" y="251217"/>
            <a:ext cx="8207375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Мониторинг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НГ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у беременных женщин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механическими клапанами сердца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57200" y="1628775"/>
            <a:ext cx="8229600" cy="2736329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Анти </a:t>
            </a:r>
            <a:r>
              <a:rPr lang="ru-RU" altLang="zh-CN" sz="2200" dirty="0" err="1"/>
              <a:t>Xa</a:t>
            </a:r>
            <a:r>
              <a:rPr lang="ru-RU" altLang="zh-CN" sz="2200" dirty="0"/>
              <a:t> не подвержен влиянию внешних факторов, демонстрирует меньшую вариабельность.</a:t>
            </a:r>
          </a:p>
          <a:p>
            <a:r>
              <a:rPr lang="ru-RU" altLang="zh-CN" sz="2200" dirty="0" err="1"/>
              <a:t>Мониторирование</a:t>
            </a:r>
            <a:r>
              <a:rPr lang="ru-RU" altLang="zh-CN" sz="2200" dirty="0"/>
              <a:t> </a:t>
            </a:r>
            <a:r>
              <a:rPr lang="ru-RU" altLang="zh-CN" sz="2200" dirty="0" smtClean="0"/>
              <a:t>НГ </a:t>
            </a:r>
            <a:r>
              <a:rPr lang="ru-RU" altLang="zh-CN" sz="2200" dirty="0"/>
              <a:t>с анти-Ха приводит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к </a:t>
            </a:r>
            <a:r>
              <a:rPr lang="ru-RU" altLang="zh-CN" sz="2200" dirty="0"/>
              <a:t>ускоренному достижению терапевтических доз АК,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более </a:t>
            </a:r>
            <a:r>
              <a:rPr lang="ru-RU" altLang="zh-CN" sz="2200" dirty="0"/>
              <a:t>постоянным терапевтическим концентрациям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и </a:t>
            </a:r>
            <a:r>
              <a:rPr lang="ru-RU" altLang="zh-CN" sz="2200" dirty="0"/>
              <a:t>меньшему количеству лабораторных тестов,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а </a:t>
            </a:r>
            <a:r>
              <a:rPr lang="ru-RU" altLang="zh-CN" sz="2200" dirty="0"/>
              <a:t>так же меньшему числу смены доз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57200" y="1246942"/>
            <a:ext cx="26513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j-lt"/>
              </a:rPr>
              <a:t>Преимущества анти </a:t>
            </a:r>
            <a:r>
              <a:rPr lang="en-US" b="1" dirty="0" err="1">
                <a:solidFill>
                  <a:srgbClr val="C00000"/>
                </a:solidFill>
                <a:latin typeface="+mj-lt"/>
              </a:rPr>
              <a:t>Xa</a:t>
            </a:r>
            <a:endParaRPr lang="ru-RU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471609" y="6237312"/>
            <a:ext cx="51845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i="1" dirty="0" err="1">
                <a:solidFill>
                  <a:srgbClr val="663300"/>
                </a:solidFill>
              </a:rPr>
              <a:t>Guervil</a:t>
            </a:r>
            <a:r>
              <a:rPr lang="en-US" sz="1600" i="1" dirty="0">
                <a:solidFill>
                  <a:srgbClr val="663300"/>
                </a:solidFill>
              </a:rPr>
              <a:t> D.J. et al. Ann. Pharmacotherapy 2011; 45:861.</a:t>
            </a:r>
            <a:endParaRPr lang="ru-RU" sz="1600" i="1" dirty="0">
              <a:solidFill>
                <a:srgbClr val="663300"/>
              </a:solidFill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2649" y="3428999"/>
            <a:ext cx="1884588" cy="266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37060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2" y="251217"/>
            <a:ext cx="8207375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 err="1">
                <a:solidFill>
                  <a:schemeClr val="tx2"/>
                </a:solidFill>
                <a:latin typeface="Times New Roman" pitchFamily="18" charset="0"/>
              </a:rPr>
              <a:t>Гепаринорезистентность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 во время беременности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57200" y="1628775"/>
            <a:ext cx="8229600" cy="2448297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 err="1"/>
              <a:t>Гепаринорезистентность</a:t>
            </a:r>
            <a:r>
              <a:rPr lang="ru-RU" altLang="zh-CN" sz="2200" dirty="0"/>
              <a:t>: при потребности </a:t>
            </a:r>
            <a:r>
              <a:rPr lang="ru-RU" altLang="zh-CN" sz="2200" b="1" dirty="0">
                <a:solidFill>
                  <a:srgbClr val="C00000"/>
                </a:solidFill>
              </a:rPr>
              <a:t>&gt; 35.000 </a:t>
            </a:r>
            <a:r>
              <a:rPr lang="ru-RU" altLang="zh-CN" sz="2200" dirty="0"/>
              <a:t>единиц </a:t>
            </a:r>
            <a:r>
              <a:rPr lang="ru-RU" altLang="zh-CN" sz="2200" dirty="0" smtClean="0"/>
              <a:t>НГ </a:t>
            </a:r>
            <a:r>
              <a:rPr lang="ru-RU" altLang="zh-CN" sz="2200" dirty="0"/>
              <a:t>для достижения желаемого АЧТВ, которое притупляется, не смотря на терапевтическую дозу АК.</a:t>
            </a:r>
          </a:p>
          <a:p>
            <a:r>
              <a:rPr lang="ru-RU" altLang="zh-CN" sz="2200" dirty="0"/>
              <a:t>Обычно связана с наличием гепарин-связывающих протеинов.</a:t>
            </a:r>
          </a:p>
          <a:p>
            <a:r>
              <a:rPr lang="ru-RU" altLang="zh-CN" sz="2200" dirty="0"/>
              <a:t>Частая ситуация во время беременности вследствие значительного увеличения VIII </a:t>
            </a:r>
            <a:r>
              <a:rPr lang="ru-RU" altLang="zh-CN" sz="2200" dirty="0" smtClean="0"/>
              <a:t>фактора </a:t>
            </a:r>
            <a:r>
              <a:rPr lang="ru-RU" altLang="zh-CN" sz="2200" dirty="0"/>
              <a:t>(до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>104,2</a:t>
            </a:r>
            <a:r>
              <a:rPr lang="ru-RU" altLang="zh-CN" sz="2200" b="1" dirty="0">
                <a:solidFill>
                  <a:srgbClr val="C00000"/>
                </a:solidFill>
              </a:rPr>
              <a:t>%</a:t>
            </a:r>
            <a:r>
              <a:rPr lang="ru-RU" altLang="zh-CN" sz="2200" dirty="0"/>
              <a:t>)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471609" y="6237312"/>
            <a:ext cx="51845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a-DK" sz="1600" i="1" dirty="0">
                <a:solidFill>
                  <a:srgbClr val="663300"/>
                </a:solidFill>
              </a:rPr>
              <a:t>Raschke R.A. et al. Obstet. Gynecol. 2004; 96:804</a:t>
            </a:r>
            <a:r>
              <a:rPr lang="en-US" sz="1600" i="1" dirty="0" smtClean="0">
                <a:solidFill>
                  <a:srgbClr val="663300"/>
                </a:solidFill>
              </a:rPr>
              <a:t>.</a:t>
            </a:r>
            <a:endParaRPr lang="ru-RU" sz="1600" i="1" dirty="0">
              <a:solidFill>
                <a:srgbClr val="66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061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2" y="251217"/>
            <a:ext cx="8207375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Гепарин-индуцированный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остеопороз </a:t>
            </a:r>
            <a: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во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время беременности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57200" y="1628775"/>
            <a:ext cx="8363272" cy="2448297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Гепарин индуцирует множественные компрессионные </a:t>
            </a:r>
            <a:r>
              <a:rPr lang="ru-RU" altLang="zh-CN" sz="2200" dirty="0" smtClean="0"/>
              <a:t>переломы </a:t>
            </a:r>
            <a:r>
              <a:rPr lang="ru-RU" altLang="zh-CN" sz="2200" dirty="0"/>
              <a:t>тел позвонков</a:t>
            </a:r>
          </a:p>
          <a:p>
            <a:pPr marL="0" indent="0">
              <a:buNone/>
            </a:pPr>
            <a:r>
              <a:rPr lang="ru-RU" altLang="zh-CN" sz="2200" dirty="0" smtClean="0"/>
              <a:t>	</a:t>
            </a:r>
            <a:r>
              <a:rPr lang="ru-RU" altLang="zh-CN" sz="1600" i="1" dirty="0">
                <a:solidFill>
                  <a:srgbClr val="663300"/>
                </a:solidFill>
                <a:latin typeface="Arial" pitchFamily="34" charset="0"/>
              </a:rPr>
              <a:t>(</a:t>
            </a:r>
            <a:r>
              <a:rPr lang="ru-RU" altLang="zh-CN" sz="1600" i="1" dirty="0" err="1">
                <a:solidFill>
                  <a:srgbClr val="663300"/>
                </a:solidFill>
                <a:latin typeface="Arial" pitchFamily="34" charset="0"/>
              </a:rPr>
              <a:t>Wise</a:t>
            </a:r>
            <a:r>
              <a:rPr lang="ru-RU" altLang="zh-CN" sz="1600" i="1" dirty="0">
                <a:solidFill>
                  <a:srgbClr val="663300"/>
                </a:solidFill>
                <a:latin typeface="Arial" pitchFamily="34" charset="0"/>
              </a:rPr>
              <a:t>, </a:t>
            </a:r>
            <a:r>
              <a:rPr lang="ru-RU" altLang="zh-CN" sz="1600" i="1" dirty="0" err="1">
                <a:solidFill>
                  <a:srgbClr val="663300"/>
                </a:solidFill>
                <a:latin typeface="Arial" pitchFamily="34" charset="0"/>
              </a:rPr>
              <a:t>Hall</a:t>
            </a:r>
            <a:r>
              <a:rPr lang="ru-RU" altLang="zh-CN" sz="1600" i="1" dirty="0">
                <a:solidFill>
                  <a:srgbClr val="663300"/>
                </a:solidFill>
                <a:latin typeface="Arial" pitchFamily="34" charset="0"/>
              </a:rPr>
              <a:t>. 1980)</a:t>
            </a:r>
          </a:p>
          <a:p>
            <a:r>
              <a:rPr lang="ru-RU" altLang="zh-CN" sz="2200" dirty="0"/>
              <a:t>Большие дозы гепарина приводили к развитию остеопороза</a:t>
            </a:r>
            <a:r>
              <a:rPr lang="ru-RU" altLang="zh-CN" sz="2200" dirty="0" smtClean="0"/>
              <a:t>.</a:t>
            </a:r>
          </a:p>
          <a:p>
            <a:pPr marL="0" indent="0">
              <a:buNone/>
            </a:pPr>
            <a:r>
              <a:rPr lang="ru-RU" altLang="zh-CN" sz="2200" dirty="0" smtClean="0"/>
              <a:t>	</a:t>
            </a:r>
            <a:r>
              <a:rPr lang="ru-RU" altLang="zh-CN" sz="1600" i="1" dirty="0">
                <a:solidFill>
                  <a:srgbClr val="663300"/>
                </a:solidFill>
                <a:latin typeface="Arial" pitchFamily="34" charset="0"/>
              </a:rPr>
              <a:t>(</a:t>
            </a:r>
            <a:r>
              <a:rPr lang="ru-RU" altLang="zh-CN" sz="1600" i="1" dirty="0" err="1">
                <a:solidFill>
                  <a:srgbClr val="663300"/>
                </a:solidFill>
                <a:latin typeface="Arial" pitchFamily="34" charset="0"/>
              </a:rPr>
              <a:t>Griffiths</a:t>
            </a:r>
            <a:r>
              <a:rPr lang="ru-RU" altLang="zh-CN" sz="1600" i="1" dirty="0">
                <a:solidFill>
                  <a:srgbClr val="663300"/>
                </a:solidFill>
                <a:latin typeface="Arial" pitchFamily="34" charset="0"/>
              </a:rPr>
              <a:t> 1984)</a:t>
            </a:r>
          </a:p>
          <a:p>
            <a:r>
              <a:rPr lang="ru-RU" altLang="zh-CN" sz="2200" dirty="0"/>
              <a:t>Гепарин приводит к развитию остеопороза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во </a:t>
            </a:r>
            <a:r>
              <a:rPr lang="ru-RU" altLang="zh-CN" sz="2200" dirty="0"/>
              <a:t>время </a:t>
            </a:r>
            <a:r>
              <a:rPr lang="ru-RU" altLang="zh-CN" sz="2200" dirty="0" smtClean="0"/>
              <a:t>беременности</a:t>
            </a:r>
          </a:p>
          <a:p>
            <a:pPr marL="0" indent="0">
              <a:buNone/>
            </a:pPr>
            <a:r>
              <a:rPr lang="ru-RU" altLang="zh-CN" sz="2200" dirty="0" smtClean="0"/>
              <a:t>	</a:t>
            </a:r>
            <a:r>
              <a:rPr lang="ru-RU" altLang="zh-CN" sz="1600" i="1" dirty="0">
                <a:solidFill>
                  <a:srgbClr val="663300"/>
                </a:solidFill>
                <a:latin typeface="Arial" pitchFamily="34" charset="0"/>
              </a:rPr>
              <a:t>(</a:t>
            </a:r>
            <a:r>
              <a:rPr lang="ru-RU" altLang="zh-CN" sz="1600" i="1" dirty="0" err="1">
                <a:solidFill>
                  <a:srgbClr val="663300"/>
                </a:solidFill>
                <a:latin typeface="Arial" pitchFamily="34" charset="0"/>
              </a:rPr>
              <a:t>Ziman</a:t>
            </a:r>
            <a:r>
              <a:rPr lang="ru-RU" altLang="zh-CN" sz="1600" i="1" dirty="0">
                <a:solidFill>
                  <a:srgbClr val="663300"/>
                </a:solidFill>
                <a:latin typeface="Arial" pitchFamily="34" charset="0"/>
              </a:rPr>
              <a:t> 1986)</a:t>
            </a:r>
          </a:p>
          <a:p>
            <a:r>
              <a:rPr lang="ru-RU" altLang="zh-CN" sz="2200" dirty="0"/>
              <a:t>Гепарин приводит к остеопорозу </a:t>
            </a:r>
            <a:endParaRPr lang="ru-RU" altLang="zh-CN" sz="2200" dirty="0" smtClean="0"/>
          </a:p>
          <a:p>
            <a:pPr marL="0" indent="0">
              <a:buNone/>
            </a:pPr>
            <a:r>
              <a:rPr lang="ru-RU" altLang="zh-CN" sz="2200" dirty="0"/>
              <a:t>	</a:t>
            </a:r>
            <a:r>
              <a:rPr lang="ru-RU" altLang="zh-CN" sz="1600" i="1" dirty="0">
                <a:solidFill>
                  <a:srgbClr val="663300"/>
                </a:solidFill>
                <a:latin typeface="Arial" pitchFamily="34" charset="0"/>
              </a:rPr>
              <a:t>(</a:t>
            </a:r>
            <a:r>
              <a:rPr lang="ru-RU" altLang="zh-CN" sz="1600" i="1" dirty="0" err="1">
                <a:solidFill>
                  <a:srgbClr val="663300"/>
                </a:solidFill>
                <a:latin typeface="Arial" pitchFamily="34" charset="0"/>
              </a:rPr>
              <a:t>Barbour</a:t>
            </a:r>
            <a:r>
              <a:rPr lang="ru-RU" altLang="zh-CN" sz="1600" i="1" dirty="0">
                <a:solidFill>
                  <a:srgbClr val="663300"/>
                </a:solidFill>
                <a:latin typeface="Arial" pitchFamily="34" charset="0"/>
              </a:rPr>
              <a:t> 1994)</a:t>
            </a:r>
          </a:p>
        </p:txBody>
      </p:sp>
      <p:pic>
        <p:nvPicPr>
          <p:cNvPr id="12291" name="Picture 3" descr="C:\Users\USER\Desktop\4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174" y="3429000"/>
            <a:ext cx="2663825" cy="266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0306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3" y="1"/>
            <a:ext cx="8668923" cy="1431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НГ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для </a:t>
            </a:r>
            <a:r>
              <a:rPr lang="ru-RU" sz="3200" b="1" dirty="0" err="1">
                <a:solidFill>
                  <a:schemeClr val="tx2"/>
                </a:solidFill>
                <a:latin typeface="Times New Roman" pitchFamily="18" charset="0"/>
              </a:rPr>
              <a:t>антикоагуляции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 у женщин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механическими искусственными клапанами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ердца</a:t>
            </a:r>
            <a:endParaRPr lang="ru-RU" sz="3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68313" y="2276872"/>
            <a:ext cx="8229600" cy="3312393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Исследования у женщин с </a:t>
            </a:r>
            <a:r>
              <a:rPr lang="ru-RU" altLang="zh-CN" sz="2200" dirty="0" err="1"/>
              <a:t>тромбогенными</a:t>
            </a:r>
            <a:r>
              <a:rPr lang="ru-RU" altLang="zh-CN" sz="2200" dirty="0"/>
              <a:t> механическими клапанами сердца,  преимущественно старого поколения,  показали высокую частоту тромбоэмболических осложнений, включая клапанный тромбоз и материнскую смертность.</a:t>
            </a:r>
          </a:p>
          <a:p>
            <a:r>
              <a:rPr lang="ru-RU" altLang="zh-CN" sz="2200" dirty="0"/>
              <a:t>Мы располагаем малым количеством информации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о </a:t>
            </a:r>
            <a:r>
              <a:rPr lang="ru-RU" altLang="zh-CN" sz="2200" dirty="0"/>
              <a:t>безопасности </a:t>
            </a:r>
            <a:r>
              <a:rPr lang="ru-RU" altLang="zh-CN" sz="2200" dirty="0" smtClean="0"/>
              <a:t>НГ </a:t>
            </a:r>
            <a:r>
              <a:rPr lang="ru-RU" altLang="zh-CN" sz="2200" dirty="0"/>
              <a:t>у беременных женщин с новым поколением механических клапанов сердца.</a:t>
            </a:r>
          </a:p>
          <a:p>
            <a:r>
              <a:rPr lang="ru-RU" altLang="zh-CN" sz="2200" dirty="0"/>
              <a:t>Непрерывная в/в инфузия </a:t>
            </a:r>
            <a:r>
              <a:rPr lang="ru-RU" altLang="zh-CN" sz="2200" dirty="0" smtClean="0"/>
              <a:t>НГ </a:t>
            </a:r>
            <a:r>
              <a:rPr lang="ru-RU" altLang="zh-CN" sz="2200" dirty="0"/>
              <a:t>обеспечивает более устойчивый эффект по сравнению с подкожным введением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46087" y="1629191"/>
            <a:ext cx="9512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j-lt"/>
              </a:rPr>
              <a:t>Резюме</a:t>
            </a:r>
          </a:p>
        </p:txBody>
      </p:sp>
    </p:spTree>
    <p:extLst>
      <p:ext uri="{BB962C8B-B14F-4D97-AF65-F5344CB8AC3E}">
        <p14:creationId xmlns:p14="http://schemas.microsoft.com/office/powerpoint/2010/main" val="3997234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16"/>
          <p:cNvSpPr>
            <a:spLocks noChangeArrowheads="1"/>
          </p:cNvSpPr>
          <p:nvPr/>
        </p:nvSpPr>
        <p:spPr bwMode="auto">
          <a:xfrm>
            <a:off x="468313" y="104132"/>
            <a:ext cx="8207374" cy="1512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Антикоагулянтная терапия у беременных женщин с механическими искусственными клапанами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ердца</a:t>
            </a:r>
            <a:endParaRPr lang="ru-RU" sz="3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10" name="Rectangle 516"/>
          <p:cNvSpPr>
            <a:spLocks noChangeArrowheads="1"/>
          </p:cNvSpPr>
          <p:nvPr/>
        </p:nvSpPr>
        <p:spPr bwMode="auto">
          <a:xfrm>
            <a:off x="446087" y="2924944"/>
            <a:ext cx="8229600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rgbClr val="C00000"/>
                </a:solidFill>
                <a:latin typeface="Times New Roman" pitchFamily="18" charset="0"/>
              </a:rPr>
              <a:t>Оральные антикоагулянты</a:t>
            </a:r>
          </a:p>
        </p:txBody>
      </p:sp>
    </p:spTree>
    <p:extLst>
      <p:ext uri="{BB962C8B-B14F-4D97-AF65-F5344CB8AC3E}">
        <p14:creationId xmlns:p14="http://schemas.microsoft.com/office/powerpoint/2010/main" val="2285987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3" y="1"/>
            <a:ext cx="8668923" cy="1431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 err="1">
                <a:solidFill>
                  <a:schemeClr val="tx2"/>
                </a:solidFill>
                <a:latin typeface="Times New Roman" pitchFamily="18" charset="0"/>
              </a:rPr>
              <a:t>Варфарин</a:t>
            </a:r>
            <a:endParaRPr lang="ru-RU" sz="3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68313" y="2276873"/>
            <a:ext cx="8229600" cy="2016224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b="1" dirty="0" err="1"/>
              <a:t>Варфарин</a:t>
            </a:r>
            <a:r>
              <a:rPr lang="ru-RU" altLang="zh-CN" sz="2200" b="1" dirty="0"/>
              <a:t> весь период беременности</a:t>
            </a:r>
            <a:r>
              <a:rPr lang="ru-RU" altLang="zh-CN" sz="2200" dirty="0"/>
              <a:t>: </a:t>
            </a:r>
            <a:r>
              <a:rPr lang="en-US" altLang="zh-CN" sz="2200" dirty="0"/>
              <a:t>AHA/ACC (C), ACCP (High risk, 2(C), ESC (&gt;5 mg/d </a:t>
            </a:r>
            <a:r>
              <a:rPr lang="en-US" altLang="zh-CN" sz="2200" dirty="0" err="1"/>
              <a:t>IIb</a:t>
            </a:r>
            <a:r>
              <a:rPr lang="en-US" altLang="zh-CN" sz="2200" dirty="0"/>
              <a:t>, &lt;5 mg/d </a:t>
            </a:r>
            <a:r>
              <a:rPr lang="en-US" altLang="zh-CN" sz="2200" dirty="0" err="1"/>
              <a:t>IIa</a:t>
            </a:r>
            <a:r>
              <a:rPr lang="en-US" altLang="zh-CN" sz="2200" dirty="0"/>
              <a:t>)</a:t>
            </a:r>
          </a:p>
          <a:p>
            <a:r>
              <a:rPr lang="en-US" altLang="zh-CN" sz="2200" b="1" dirty="0" smtClean="0"/>
              <a:t>12–36 </a:t>
            </a:r>
            <a:r>
              <a:rPr lang="ru-RU" altLang="zh-CN" sz="2200" b="1" dirty="0"/>
              <a:t>недель</a:t>
            </a:r>
            <a:r>
              <a:rPr lang="ru-RU" altLang="zh-CN" sz="2200" dirty="0"/>
              <a:t>: АНА/АСС(С), АСС</a:t>
            </a:r>
            <a:r>
              <a:rPr lang="en-US" altLang="zh-CN" sz="2200" dirty="0"/>
              <a:t>P(1A), </a:t>
            </a:r>
            <a:r>
              <a:rPr lang="en-US" altLang="zh-CN" sz="2200" dirty="0" smtClean="0"/>
              <a:t/>
            </a:r>
            <a:br>
              <a:rPr lang="en-US" altLang="zh-CN" sz="2200" dirty="0" smtClean="0"/>
            </a:br>
            <a:r>
              <a:rPr lang="en-US" altLang="zh-CN" sz="2200" dirty="0" smtClean="0"/>
              <a:t>ESC (&gt;</a:t>
            </a:r>
            <a:r>
              <a:rPr lang="en-US" altLang="zh-CN" sz="2200" dirty="0"/>
              <a:t>5mg/</a:t>
            </a:r>
            <a:r>
              <a:rPr lang="en-US" altLang="zh-CN" sz="2200" dirty="0" err="1"/>
              <a:t>dIIa</a:t>
            </a:r>
            <a:r>
              <a:rPr lang="en-US" altLang="zh-CN" sz="2200" dirty="0"/>
              <a:t>, &lt;5mg/d </a:t>
            </a:r>
            <a:r>
              <a:rPr lang="en-US" altLang="zh-CN" sz="2200" dirty="0" err="1"/>
              <a:t>IIb</a:t>
            </a:r>
            <a:r>
              <a:rPr lang="en-US" altLang="zh-CN" sz="2200" dirty="0" smtClean="0"/>
              <a:t>)</a:t>
            </a:r>
            <a:endParaRPr lang="en-US" altLang="zh-CN" sz="2200" dirty="0"/>
          </a:p>
          <a:p>
            <a:r>
              <a:rPr lang="ru-RU" altLang="zh-CN" sz="2200" b="1" dirty="0"/>
              <a:t>Мониторинг</a:t>
            </a:r>
            <a:r>
              <a:rPr lang="ru-RU" altLang="zh-CN" sz="2200" dirty="0"/>
              <a:t>: МНО </a:t>
            </a:r>
            <a:r>
              <a:rPr lang="ru-RU" altLang="zh-CN" sz="2200" dirty="0" smtClean="0"/>
              <a:t>2,5</a:t>
            </a:r>
            <a:r>
              <a:rPr lang="en-US" altLang="zh-CN" sz="2200" dirty="0" smtClean="0"/>
              <a:t>–</a:t>
            </a:r>
            <a:r>
              <a:rPr lang="ru-RU" altLang="zh-CN" sz="2200" dirty="0" smtClean="0"/>
              <a:t>3,5 </a:t>
            </a:r>
            <a:r>
              <a:rPr lang="ru-RU" altLang="zh-CN" sz="2200" dirty="0"/>
              <a:t>(</a:t>
            </a:r>
            <a:r>
              <a:rPr lang="en-US" altLang="zh-CN" sz="2200" dirty="0"/>
              <a:t>AHA/ACC)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46087" y="1629191"/>
            <a:ext cx="30347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j-lt"/>
              </a:rPr>
              <a:t>Рекомендации руководства</a:t>
            </a:r>
          </a:p>
        </p:txBody>
      </p:sp>
    </p:spTree>
    <p:extLst>
      <p:ext uri="{BB962C8B-B14F-4D97-AF65-F5344CB8AC3E}">
        <p14:creationId xmlns:p14="http://schemas.microsoft.com/office/powerpoint/2010/main" val="780681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3" y="1"/>
            <a:ext cx="8668923" cy="1431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Антикоагулянты для беременных женщин </a:t>
            </a:r>
            <a: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механическими клапанами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ердца </a:t>
            </a:r>
            <a:endParaRPr lang="ru-RU" sz="3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68313" y="2276873"/>
            <a:ext cx="8229600" cy="2016224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В отличие от гепаринов, </a:t>
            </a:r>
            <a:r>
              <a:rPr lang="ru-RU" altLang="zh-CN" sz="2200" dirty="0" err="1"/>
              <a:t>варфарин</a:t>
            </a:r>
            <a:r>
              <a:rPr lang="ru-RU" altLang="zh-CN" sz="2200" dirty="0"/>
              <a:t> свободно проникает через плаценту и, таким образом, представляет риск для плода</a:t>
            </a:r>
            <a:r>
              <a:rPr lang="ru-RU" altLang="zh-CN" sz="2200" dirty="0" smtClean="0"/>
              <a:t>.</a:t>
            </a:r>
            <a:r>
              <a:rPr lang="en-US" altLang="zh-CN" sz="2200" dirty="0" smtClean="0"/>
              <a:t/>
            </a:r>
            <a:br>
              <a:rPr lang="en-US" altLang="zh-CN" sz="2200" dirty="0" smtClean="0"/>
            </a:br>
            <a:r>
              <a:rPr lang="ru-RU" altLang="zh-CN" sz="2200" dirty="0" smtClean="0"/>
              <a:t> </a:t>
            </a:r>
            <a:endParaRPr lang="ru-RU" altLang="zh-CN" sz="2200" dirty="0"/>
          </a:p>
          <a:p>
            <a:r>
              <a:rPr lang="ru-RU" altLang="zh-CN" sz="2200" dirty="0"/>
              <a:t>Прием варфарина в сроке между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>6</a:t>
            </a:r>
            <a:r>
              <a:rPr lang="en-US" altLang="zh-CN" sz="2200" b="1" dirty="0" smtClean="0">
                <a:solidFill>
                  <a:srgbClr val="C00000"/>
                </a:solidFill>
              </a:rPr>
              <a:t>–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>12 </a:t>
            </a:r>
            <a:r>
              <a:rPr lang="ru-RU" altLang="zh-CN" sz="2200" b="1" dirty="0" err="1" smtClean="0">
                <a:solidFill>
                  <a:srgbClr val="C00000"/>
                </a:solidFill>
              </a:rPr>
              <a:t>нед</a:t>
            </a:r>
            <a:r>
              <a:rPr lang="en-US" altLang="zh-CN" sz="2200" b="1" dirty="0">
                <a:solidFill>
                  <a:srgbClr val="C00000"/>
                </a:solidFill>
              </a:rPr>
              <a:t>.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> </a:t>
            </a:r>
            <a:r>
              <a:rPr lang="ru-RU" altLang="zh-CN" sz="2200" dirty="0"/>
              <a:t>беременности </a:t>
            </a:r>
            <a:r>
              <a:rPr lang="en-US" altLang="zh-CN" sz="2200" dirty="0" smtClean="0"/>
              <a:t/>
            </a:r>
            <a:br>
              <a:rPr lang="en-US" altLang="zh-CN" sz="2200" dirty="0" smtClean="0"/>
            </a:br>
            <a:r>
              <a:rPr lang="ru-RU" altLang="zh-CN" sz="2200" dirty="0" smtClean="0"/>
              <a:t>может </a:t>
            </a:r>
            <a:r>
              <a:rPr lang="ru-RU" altLang="zh-CN" sz="2200" dirty="0"/>
              <a:t>привести к </a:t>
            </a:r>
            <a:r>
              <a:rPr lang="ru-RU" altLang="zh-CN" sz="2200" dirty="0" err="1"/>
              <a:t>варфариновой</a:t>
            </a:r>
            <a:r>
              <a:rPr lang="ru-RU" altLang="zh-CN" sz="2200" dirty="0"/>
              <a:t> </a:t>
            </a:r>
            <a:r>
              <a:rPr lang="ru-RU" altLang="zh-CN" sz="2200" dirty="0" err="1"/>
              <a:t>фетопатии</a:t>
            </a:r>
            <a:r>
              <a:rPr lang="ru-RU" altLang="zh-CN" sz="2200" dirty="0"/>
              <a:t>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46087" y="1629191"/>
            <a:ext cx="12522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err="1">
                <a:solidFill>
                  <a:srgbClr val="C00000"/>
                </a:solidFill>
                <a:latin typeface="+mj-lt"/>
              </a:rPr>
              <a:t>Варфарин</a:t>
            </a:r>
            <a:endParaRPr lang="ru-RU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39508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3" y="1"/>
            <a:ext cx="8668923" cy="1431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Антикоагулянтная терапия для беременных женщин с механическими искусственными клапанами сердца 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68313" y="2276873"/>
            <a:ext cx="8229600" cy="2016224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 err="1"/>
              <a:t>Варфариновая</a:t>
            </a:r>
            <a:r>
              <a:rPr lang="ru-RU" altLang="zh-CN" sz="2200" dirty="0"/>
              <a:t> </a:t>
            </a:r>
            <a:r>
              <a:rPr lang="ru-RU" altLang="zh-CN" sz="2200" dirty="0" err="1"/>
              <a:t>эмбриопатия</a:t>
            </a:r>
            <a:r>
              <a:rPr lang="ru-RU" altLang="zh-CN" sz="2200" dirty="0"/>
              <a:t>: Гипоплазия кости носа </a:t>
            </a:r>
            <a:r>
              <a:rPr lang="en-US" altLang="zh-CN" sz="2200" dirty="0" smtClean="0"/>
              <a:t/>
            </a:r>
            <a:br>
              <a:rPr lang="en-US" altLang="zh-CN" sz="2200" dirty="0" smtClean="0"/>
            </a:br>
            <a:r>
              <a:rPr lang="ru-RU" altLang="zh-CN" sz="2200" dirty="0" smtClean="0"/>
              <a:t>и </a:t>
            </a:r>
            <a:r>
              <a:rPr lang="ru-RU" altLang="zh-CN" sz="2200" dirty="0"/>
              <a:t>точечная </a:t>
            </a:r>
            <a:r>
              <a:rPr lang="ru-RU" altLang="zh-CN" sz="2200" dirty="0" err="1"/>
              <a:t>хондродисплазия</a:t>
            </a:r>
            <a:r>
              <a:rPr lang="ru-RU" altLang="zh-CN" sz="2200" dirty="0"/>
              <a:t>. </a:t>
            </a:r>
            <a:r>
              <a:rPr lang="en-US" altLang="zh-CN" sz="2200" dirty="0" smtClean="0"/>
              <a:t/>
            </a:r>
            <a:br>
              <a:rPr lang="en-US" altLang="zh-CN" sz="2200" dirty="0" smtClean="0"/>
            </a:br>
            <a:endParaRPr lang="ru-RU" altLang="zh-CN" sz="2200" dirty="0"/>
          </a:p>
          <a:p>
            <a:r>
              <a:rPr lang="ru-RU" altLang="zh-CN" sz="2200" dirty="0"/>
              <a:t>Множественные пороки развития ЦНС (</a:t>
            </a:r>
            <a:r>
              <a:rPr lang="ru-RU" altLang="zh-CN" sz="2200" b="1" dirty="0">
                <a:solidFill>
                  <a:srgbClr val="C00000"/>
                </a:solidFill>
              </a:rPr>
              <a:t>1%</a:t>
            </a:r>
            <a:r>
              <a:rPr lang="ru-RU" altLang="zh-CN" sz="2200" dirty="0"/>
              <a:t>) и потеря плода </a:t>
            </a:r>
            <a:r>
              <a:rPr lang="en-US" altLang="zh-CN" sz="2200" dirty="0" smtClean="0"/>
              <a:t/>
            </a:r>
            <a:br>
              <a:rPr lang="en-US" altLang="zh-CN" sz="2200" dirty="0" smtClean="0"/>
            </a:br>
            <a:r>
              <a:rPr lang="ru-RU" altLang="zh-CN" sz="2200" dirty="0" smtClean="0"/>
              <a:t>(</a:t>
            </a:r>
            <a:r>
              <a:rPr lang="ru-RU" altLang="zh-CN" sz="2200" dirty="0"/>
              <a:t>во время беременности </a:t>
            </a:r>
            <a:r>
              <a:rPr lang="ru-RU" altLang="zh-CN" sz="2200" b="1" dirty="0">
                <a:solidFill>
                  <a:srgbClr val="C00000"/>
                </a:solidFill>
              </a:rPr>
              <a:t>&gt; 30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>%</a:t>
            </a:r>
            <a:r>
              <a:rPr lang="ru-RU" altLang="zh-CN" sz="2200" dirty="0" smtClean="0"/>
              <a:t>)</a:t>
            </a:r>
            <a:endParaRPr lang="ru-RU" altLang="zh-CN" sz="22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446087" y="1629191"/>
            <a:ext cx="28886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err="1">
                <a:solidFill>
                  <a:srgbClr val="C00000"/>
                </a:solidFill>
                <a:latin typeface="+mj-lt"/>
              </a:rPr>
              <a:t>Варфариновая</a:t>
            </a:r>
            <a:r>
              <a:rPr lang="ru-RU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ru-RU" b="1" dirty="0" err="1">
                <a:solidFill>
                  <a:srgbClr val="C00000"/>
                </a:solidFill>
                <a:latin typeface="+mj-lt"/>
              </a:rPr>
              <a:t>фетопатия</a:t>
            </a:r>
            <a:endParaRPr lang="ru-RU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1213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3" y="1"/>
            <a:ext cx="8668923" cy="765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 err="1" smtClean="0">
                <a:solidFill>
                  <a:schemeClr val="tx2"/>
                </a:solidFill>
                <a:latin typeface="Times New Roman" pitchFamily="18" charset="0"/>
              </a:rPr>
              <a:t>Варфариновая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 </a:t>
            </a:r>
            <a:r>
              <a:rPr lang="ru-RU" sz="3200" b="1" dirty="0" err="1" smtClean="0">
                <a:solidFill>
                  <a:schemeClr val="tx2"/>
                </a:solidFill>
                <a:latin typeface="Times New Roman" pitchFamily="18" charset="0"/>
              </a:rPr>
              <a:t>эмбриопатия</a:t>
            </a:r>
            <a:endParaRPr lang="ru-RU" sz="3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74079" y="5157440"/>
            <a:ext cx="772631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C00000"/>
                </a:solidFill>
                <a:latin typeface="+mj-lt"/>
              </a:rPr>
              <a:t>Точечная </a:t>
            </a:r>
            <a:r>
              <a:rPr lang="ru-RU" b="1" dirty="0" err="1">
                <a:solidFill>
                  <a:srgbClr val="C00000"/>
                </a:solidFill>
                <a:latin typeface="+mj-lt"/>
              </a:rPr>
              <a:t>хондродисплазия</a:t>
            </a:r>
            <a:r>
              <a:rPr lang="ru-RU" b="1" dirty="0">
                <a:solidFill>
                  <a:srgbClr val="C00000"/>
                </a:solidFill>
                <a:latin typeface="+mj-lt"/>
              </a:rPr>
              <a:t>, группа нарушений, характеризующаяся </a:t>
            </a:r>
            <a:r>
              <a:rPr lang="ru-RU" b="1" dirty="0" smtClean="0">
                <a:solidFill>
                  <a:srgbClr val="C00000"/>
                </a:solidFill>
                <a:latin typeface="+mj-lt"/>
              </a:rPr>
              <a:t/>
            </a:r>
            <a:br>
              <a:rPr lang="ru-RU" b="1" dirty="0" smtClean="0">
                <a:solidFill>
                  <a:srgbClr val="C00000"/>
                </a:solidFill>
                <a:latin typeface="+mj-lt"/>
              </a:rPr>
            </a:br>
            <a:r>
              <a:rPr lang="ru-RU" b="1" dirty="0" smtClean="0">
                <a:solidFill>
                  <a:srgbClr val="C00000"/>
                </a:solidFill>
                <a:latin typeface="+mj-lt"/>
              </a:rPr>
              <a:t>поражением </a:t>
            </a:r>
            <a:r>
              <a:rPr lang="ru-RU" b="1" dirty="0">
                <a:solidFill>
                  <a:srgbClr val="C00000"/>
                </a:solidFill>
                <a:latin typeface="+mj-lt"/>
              </a:rPr>
              <a:t>эпифизов, что воздействует на рост длинных костей </a:t>
            </a:r>
            <a:r>
              <a:rPr lang="ru-RU" b="1" dirty="0" smtClean="0">
                <a:solidFill>
                  <a:srgbClr val="C00000"/>
                </a:solidFill>
                <a:latin typeface="+mj-lt"/>
              </a:rPr>
              <a:t/>
            </a:r>
            <a:br>
              <a:rPr lang="ru-RU" b="1" dirty="0" smtClean="0">
                <a:solidFill>
                  <a:srgbClr val="C00000"/>
                </a:solidFill>
                <a:latin typeface="+mj-lt"/>
              </a:rPr>
            </a:br>
            <a:r>
              <a:rPr lang="ru-RU" b="1" dirty="0" smtClean="0">
                <a:solidFill>
                  <a:srgbClr val="C00000"/>
                </a:solidFill>
                <a:latin typeface="+mj-lt"/>
              </a:rPr>
              <a:t>(</a:t>
            </a:r>
            <a:r>
              <a:rPr lang="ru-RU" b="1" dirty="0">
                <a:solidFill>
                  <a:srgbClr val="C00000"/>
                </a:solidFill>
                <a:latin typeface="+mj-lt"/>
              </a:rPr>
              <a:t>плечи, бедра, пальцы) и может привести к обезображиванию суставов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485" y="1628991"/>
            <a:ext cx="3009695" cy="3537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5148" y="1603939"/>
            <a:ext cx="2997493" cy="3537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95910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3" y="1"/>
            <a:ext cx="8668923" cy="765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 err="1" smtClean="0">
                <a:solidFill>
                  <a:schemeClr val="tx2"/>
                </a:solidFill>
                <a:latin typeface="Times New Roman" pitchFamily="18" charset="0"/>
              </a:rPr>
              <a:t>Варфариновая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 </a:t>
            </a:r>
            <a:r>
              <a:rPr lang="ru-RU" sz="3200" b="1" dirty="0" err="1" smtClean="0">
                <a:solidFill>
                  <a:schemeClr val="tx2"/>
                </a:solidFill>
                <a:latin typeface="Times New Roman" pitchFamily="18" charset="0"/>
              </a:rPr>
              <a:t>эмбриопатия</a:t>
            </a:r>
            <a:endParaRPr lang="ru-RU" sz="3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40590" y="5157440"/>
            <a:ext cx="41265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err="1">
                <a:solidFill>
                  <a:srgbClr val="C00000"/>
                </a:solidFill>
                <a:latin typeface="+mj-lt"/>
              </a:rPr>
              <a:t>Мальформация</a:t>
            </a:r>
            <a:r>
              <a:rPr lang="ru-RU" b="1" dirty="0">
                <a:solidFill>
                  <a:srgbClr val="C00000"/>
                </a:solidFill>
                <a:latin typeface="+mj-lt"/>
              </a:rPr>
              <a:t> носа</a:t>
            </a:r>
          </a:p>
        </p:txBody>
      </p:sp>
      <p:pic>
        <p:nvPicPr>
          <p:cNvPr id="19458" name="Picture 2" descr="http://img.medscape.com/pi/emed/ckb/otolaryngology/834279-837236-34t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642" y="1632673"/>
            <a:ext cx="4101464" cy="3032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8823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446088" y="4293096"/>
            <a:ext cx="8210097" cy="1584176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</a:pPr>
            <a:r>
              <a:rPr lang="ru-RU" dirty="0"/>
              <a:t>Приблизительно </a:t>
            </a:r>
            <a:r>
              <a:rPr lang="ru-RU" b="1" dirty="0">
                <a:solidFill>
                  <a:srgbClr val="663300"/>
                </a:solidFill>
              </a:rPr>
              <a:t>6000</a:t>
            </a:r>
            <a:r>
              <a:rPr lang="ru-RU" dirty="0"/>
              <a:t> женщин детородного возраста переносят операцию по установке искусственных клапанов сердца и нуждаются в пожизненной </a:t>
            </a:r>
            <a:r>
              <a:rPr lang="ru-RU" dirty="0" err="1"/>
              <a:t>антикоагулянтной</a:t>
            </a:r>
            <a:r>
              <a:rPr lang="ru-RU" dirty="0"/>
              <a:t> терапии для предупреждения тромбоэмболических осложнений.</a:t>
            </a:r>
          </a:p>
        </p:txBody>
      </p:sp>
      <p:sp>
        <p:nvSpPr>
          <p:cNvPr id="4" name="Rectangle 516"/>
          <p:cNvSpPr>
            <a:spLocks noChangeArrowheads="1"/>
          </p:cNvSpPr>
          <p:nvPr/>
        </p:nvSpPr>
        <p:spPr bwMode="auto">
          <a:xfrm>
            <a:off x="468312" y="179210"/>
            <a:ext cx="8218487" cy="585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Искусственные клапаны сердца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471609" y="6237312"/>
            <a:ext cx="51845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i="1" dirty="0" err="1">
                <a:solidFill>
                  <a:srgbClr val="663300"/>
                </a:solidFill>
              </a:rPr>
              <a:t>Pibarot</a:t>
            </a:r>
            <a:r>
              <a:rPr lang="ru-RU" sz="1600" i="1" dirty="0">
                <a:solidFill>
                  <a:srgbClr val="663300"/>
                </a:solidFill>
              </a:rPr>
              <a:t> &amp; </a:t>
            </a:r>
            <a:r>
              <a:rPr lang="en-US" sz="1600" i="1" dirty="0" err="1">
                <a:solidFill>
                  <a:srgbClr val="663300"/>
                </a:solidFill>
              </a:rPr>
              <a:t>Dumensil</a:t>
            </a:r>
            <a:r>
              <a:rPr lang="ru-RU" sz="1600" i="1" dirty="0">
                <a:solidFill>
                  <a:srgbClr val="663300"/>
                </a:solidFill>
              </a:rPr>
              <a:t>. </a:t>
            </a:r>
            <a:r>
              <a:rPr lang="en-US" sz="1600" i="1" dirty="0">
                <a:solidFill>
                  <a:srgbClr val="663300"/>
                </a:solidFill>
              </a:rPr>
              <a:t>Circulation</a:t>
            </a:r>
            <a:r>
              <a:rPr lang="ru-RU" sz="1600" i="1" dirty="0">
                <a:solidFill>
                  <a:srgbClr val="663300"/>
                </a:solidFill>
              </a:rPr>
              <a:t> 2009; 119:1034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628774"/>
            <a:ext cx="6024372" cy="2520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 descr="D:\inteltek\Slaids\2014\07\31\cover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3986" y="793"/>
            <a:ext cx="1510013" cy="1627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3" y="1"/>
            <a:ext cx="8668923" cy="765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 err="1">
                <a:solidFill>
                  <a:schemeClr val="tx2"/>
                </a:solidFill>
                <a:latin typeface="Times New Roman" pitchFamily="18" charset="0"/>
              </a:rPr>
              <a:t>Фетотоксичность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 при приеме варфарина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32468" y="5201260"/>
            <a:ext cx="3219451" cy="335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i="1" dirty="0">
                <a:latin typeface="+mj-lt"/>
              </a:rPr>
              <a:t>Вдавленная спинка нос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987824" y="6237312"/>
            <a:ext cx="56683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t-IT" sz="1600" i="1" dirty="0">
                <a:solidFill>
                  <a:srgbClr val="663300"/>
                </a:solidFill>
              </a:rPr>
              <a:t>Mehandiratta et al. Arch.Gynecol. Obstr. </a:t>
            </a:r>
            <a:r>
              <a:rPr lang="it-IT" sz="1600" i="1" dirty="0" smtClean="0">
                <a:solidFill>
                  <a:srgbClr val="663300"/>
                </a:solidFill>
              </a:rPr>
              <a:t>2010;282:335–337</a:t>
            </a:r>
            <a:endParaRPr lang="ru-RU" sz="1600" i="1" dirty="0">
              <a:solidFill>
                <a:srgbClr val="6633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32469" y="1625973"/>
            <a:ext cx="30605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err="1">
                <a:solidFill>
                  <a:srgbClr val="C00000"/>
                </a:solidFill>
                <a:latin typeface="+mj-lt"/>
              </a:rPr>
              <a:t>Варфарин</a:t>
            </a:r>
            <a:r>
              <a:rPr lang="ru-RU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ru-RU" b="1" dirty="0" smtClean="0">
                <a:solidFill>
                  <a:srgbClr val="C00000"/>
                </a:solidFill>
                <a:latin typeface="+mj-lt"/>
              </a:rPr>
              <a:t>2</a:t>
            </a:r>
            <a:r>
              <a:rPr lang="en-US" b="1" dirty="0" smtClean="0">
                <a:solidFill>
                  <a:srgbClr val="C00000"/>
                </a:solidFill>
                <a:latin typeface="+mj-lt"/>
              </a:rPr>
              <a:t>–</a:t>
            </a:r>
            <a:r>
              <a:rPr lang="ru-RU" b="1" dirty="0" smtClean="0">
                <a:solidFill>
                  <a:srgbClr val="C00000"/>
                </a:solidFill>
                <a:latin typeface="+mj-lt"/>
              </a:rPr>
              <a:t>3 </a:t>
            </a:r>
            <a:r>
              <a:rPr lang="ru-RU" b="1" dirty="0">
                <a:solidFill>
                  <a:srgbClr val="C00000"/>
                </a:solidFill>
                <a:latin typeface="+mj-lt"/>
              </a:rPr>
              <a:t>мг/</a:t>
            </a:r>
            <a:r>
              <a:rPr lang="en-US" b="1" dirty="0">
                <a:solidFill>
                  <a:srgbClr val="C00000"/>
                </a:solidFill>
                <a:latin typeface="+mj-lt"/>
              </a:rPr>
              <a:t>d</a:t>
            </a:r>
            <a:endParaRPr lang="ru-RU" b="1" dirty="0">
              <a:solidFill>
                <a:srgbClr val="C00000"/>
              </a:solidFill>
              <a:latin typeface="+mj-lt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70" y="2132856"/>
            <a:ext cx="3219450" cy="305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132856"/>
            <a:ext cx="3213074" cy="305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18629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76143" y="1635660"/>
            <a:ext cx="463056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rgbClr val="C00000"/>
                </a:solidFill>
                <a:latin typeface="+mj-lt"/>
              </a:rPr>
              <a:t>Доза варфарина у матери и исход у плода</a:t>
            </a:r>
          </a:p>
        </p:txBody>
      </p:sp>
      <p:sp>
        <p:nvSpPr>
          <p:cNvPr id="8" name="Rectangle 516"/>
          <p:cNvSpPr>
            <a:spLocks noChangeArrowheads="1"/>
          </p:cNvSpPr>
          <p:nvPr/>
        </p:nvSpPr>
        <p:spPr bwMode="auto">
          <a:xfrm>
            <a:off x="468313" y="0"/>
            <a:ext cx="8207375" cy="1484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Влияние доз варфарина на исход у матери </a:t>
            </a:r>
            <a: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и плода у беременных женщин </a:t>
            </a:r>
            <a: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 искусственными клапанами сердца</a:t>
            </a:r>
            <a:endParaRPr lang="ru-RU" sz="3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471609" y="6237312"/>
            <a:ext cx="51845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a-DK" sz="1600" i="1" dirty="0">
                <a:solidFill>
                  <a:srgbClr val="663300"/>
                </a:solidFill>
              </a:rPr>
              <a:t>Soma Pillay P. et al. Obstet. Med. 2011;4:24-7</a:t>
            </a:r>
            <a:endParaRPr lang="ru-RU" sz="1600" i="1" dirty="0">
              <a:solidFill>
                <a:srgbClr val="663300"/>
              </a:solidFill>
            </a:endParaRPr>
          </a:p>
        </p:txBody>
      </p:sp>
      <p:pic>
        <p:nvPicPr>
          <p:cNvPr id="8194" name="Picture 2" descr="D:\inteltek\Slaids\2014\07\31\т1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2153763"/>
            <a:ext cx="8186644" cy="2603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468313" y="4941168"/>
            <a:ext cx="410368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 smtClean="0">
                <a:latin typeface="+mj-lt"/>
              </a:rPr>
              <a:t>* Выделенные </a:t>
            </a:r>
            <a:r>
              <a:rPr lang="ru-RU" sz="1600" i="1" dirty="0">
                <a:latin typeface="+mj-lt"/>
              </a:rPr>
              <a:t>показатели </a:t>
            </a:r>
            <a:r>
              <a:rPr lang="en-US" sz="1600" i="1" dirty="0" smtClean="0">
                <a:latin typeface="+mj-lt"/>
              </a:rPr>
              <a:t> </a:t>
            </a:r>
            <a:r>
              <a:rPr lang="ru-RU" sz="1600" i="1" dirty="0" smtClean="0">
                <a:latin typeface="+mj-lt"/>
              </a:rPr>
              <a:t>достоверны</a:t>
            </a:r>
            <a:endParaRPr lang="ru-RU" sz="1600" i="1" dirty="0">
              <a:latin typeface="+mj-lt"/>
            </a:endParaRPr>
          </a:p>
        </p:txBody>
      </p:sp>
      <p:pic>
        <p:nvPicPr>
          <p:cNvPr id="12" name="Picture 4" descr="Cover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130" y="5010159"/>
            <a:ext cx="830499" cy="1079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Скругленный прямоугольник 2"/>
          <p:cNvSpPr/>
          <p:nvPr/>
        </p:nvSpPr>
        <p:spPr>
          <a:xfrm>
            <a:off x="997239" y="2837204"/>
            <a:ext cx="7128792" cy="1728192"/>
          </a:xfrm>
          <a:prstGeom prst="roundRect">
            <a:avLst>
              <a:gd name="adj" fmla="val 27051"/>
            </a:avLst>
          </a:prstGeom>
          <a:solidFill>
            <a:srgbClr val="FFFFFA">
              <a:alpha val="86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/>
            <a:r>
              <a:rPr lang="ru-RU" sz="2800" b="1" spc="150" dirty="0">
                <a:ln w="11430"/>
                <a:solidFill>
                  <a:srgbClr val="FF0000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</a:rPr>
              <a:t>Риск </a:t>
            </a:r>
            <a:r>
              <a:rPr lang="ru-RU" sz="2800" b="1" spc="150" dirty="0" err="1">
                <a:ln w="11430"/>
                <a:solidFill>
                  <a:srgbClr val="FF0000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</a:rPr>
              <a:t>варфариновой</a:t>
            </a:r>
            <a:r>
              <a:rPr lang="ru-RU" sz="2800" b="1" spc="150" dirty="0">
                <a:ln w="11430"/>
                <a:solidFill>
                  <a:srgbClr val="FF0000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</a:rPr>
              <a:t> </a:t>
            </a:r>
            <a:r>
              <a:rPr lang="ru-RU" sz="2800" b="1" spc="150" dirty="0" err="1">
                <a:ln w="11430"/>
                <a:solidFill>
                  <a:srgbClr val="FF0000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</a:rPr>
              <a:t>эмбриопатии</a:t>
            </a:r>
            <a:r>
              <a:rPr lang="ru-RU" sz="2800" b="1" spc="150" dirty="0">
                <a:ln w="11430"/>
                <a:solidFill>
                  <a:srgbClr val="FF0000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</a:rPr>
              <a:t> был 12% и присутствовал независимо от дозы варфарина, </a:t>
            </a:r>
            <a:r>
              <a:rPr lang="ru-RU" sz="2800" b="1" spc="150" dirty="0" smtClean="0">
                <a:ln w="11430"/>
                <a:solidFill>
                  <a:srgbClr val="FF0000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</a:rPr>
              <a:t>которую получала мать</a:t>
            </a:r>
            <a:endParaRPr lang="ru-RU" sz="2800" b="1" spc="150" dirty="0">
              <a:ln w="11430"/>
              <a:solidFill>
                <a:srgbClr val="FF0000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674355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3" y="1"/>
            <a:ext cx="8668923" cy="1431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 err="1">
                <a:solidFill>
                  <a:schemeClr val="tx2"/>
                </a:solidFill>
                <a:latin typeface="Times New Roman" pitchFamily="18" charset="0"/>
              </a:rPr>
              <a:t>Варфарин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 в лечении женщин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механическими клапанами сердца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во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время беременности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68313" y="2276872"/>
            <a:ext cx="8207375" cy="3600399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Эффективен для профилактики тромбоэмболических осложнений.</a:t>
            </a:r>
          </a:p>
          <a:p>
            <a:r>
              <a:rPr lang="ru-RU" altLang="zh-CN" sz="2200" dirty="0"/>
              <a:t>Сопровождается высоким риском потери плода (&gt;30%).</a:t>
            </a:r>
          </a:p>
          <a:p>
            <a:r>
              <a:rPr lang="ru-RU" altLang="zh-CN" sz="2200" dirty="0"/>
              <a:t>Сопровождается от небольшого до умеренного риска </a:t>
            </a:r>
            <a:r>
              <a:rPr lang="ru-RU" altLang="zh-CN" sz="2200" dirty="0" err="1"/>
              <a:t>варфариновой</a:t>
            </a:r>
            <a:r>
              <a:rPr lang="ru-RU" altLang="zh-CN" sz="2200" dirty="0"/>
              <a:t> </a:t>
            </a:r>
            <a:r>
              <a:rPr lang="ru-RU" altLang="zh-CN" sz="2200" dirty="0" err="1"/>
              <a:t>эмбриопатии</a:t>
            </a:r>
            <a:r>
              <a:rPr lang="ru-RU" altLang="zh-CN" sz="2200" dirty="0"/>
              <a:t> (</a:t>
            </a:r>
            <a:r>
              <a:rPr lang="ru-RU" altLang="zh-CN" sz="2200" dirty="0" smtClean="0"/>
              <a:t>3–8</a:t>
            </a:r>
            <a:r>
              <a:rPr lang="ru-RU" altLang="zh-CN" sz="2200" dirty="0"/>
              <a:t>% живых новорожденных).</a:t>
            </a:r>
          </a:p>
          <a:p>
            <a:r>
              <a:rPr lang="ru-RU" altLang="zh-CN" sz="2200" dirty="0"/>
              <a:t>Кровотечение как осложнение терапии </a:t>
            </a:r>
            <a:r>
              <a:rPr lang="ru-RU" altLang="zh-CN" sz="2200" dirty="0" err="1"/>
              <a:t>варфарином</a:t>
            </a:r>
            <a:r>
              <a:rPr lang="ru-RU" altLang="zh-CN" sz="2200" dirty="0"/>
              <a:t> ~ 3%.</a:t>
            </a:r>
          </a:p>
          <a:p>
            <a:r>
              <a:rPr lang="ru-RU" altLang="zh-CN" sz="2200" dirty="0"/>
              <a:t>Риск со стороны плода вероятно выше при дозе &gt;5 мг/d.</a:t>
            </a:r>
          </a:p>
          <a:p>
            <a:r>
              <a:rPr lang="ru-RU" altLang="zh-CN" sz="2200" dirty="0"/>
              <a:t>Тем не менее, безопасность плода не может быть гарантирована и дозой &lt;5 </a:t>
            </a:r>
            <a:r>
              <a:rPr lang="ru-RU" altLang="zh-CN" sz="2200" dirty="0" smtClean="0"/>
              <a:t>мг/d</a:t>
            </a:r>
            <a:endParaRPr lang="ru-RU" altLang="zh-CN" sz="22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446087" y="1629191"/>
            <a:ext cx="9512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j-lt"/>
              </a:rPr>
              <a:t>Резюме</a:t>
            </a:r>
          </a:p>
        </p:txBody>
      </p:sp>
    </p:spTree>
    <p:extLst>
      <p:ext uri="{BB962C8B-B14F-4D97-AF65-F5344CB8AC3E}">
        <p14:creationId xmlns:p14="http://schemas.microsoft.com/office/powerpoint/2010/main" val="1800205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16"/>
          <p:cNvSpPr>
            <a:spLocks noChangeArrowheads="1"/>
          </p:cNvSpPr>
          <p:nvPr/>
        </p:nvSpPr>
        <p:spPr bwMode="auto">
          <a:xfrm>
            <a:off x="457200" y="2853"/>
            <a:ext cx="8207374" cy="15246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Антикоагулянтная терапия у женщин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механическими искусственными клапанами сердца</a:t>
            </a:r>
          </a:p>
        </p:txBody>
      </p:sp>
      <p:sp>
        <p:nvSpPr>
          <p:cNvPr id="10" name="Rectangle 516"/>
          <p:cNvSpPr>
            <a:spLocks noChangeArrowheads="1"/>
          </p:cNvSpPr>
          <p:nvPr/>
        </p:nvSpPr>
        <p:spPr bwMode="auto">
          <a:xfrm>
            <a:off x="446087" y="2924944"/>
            <a:ext cx="8229600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3200" b="1" dirty="0">
                <a:solidFill>
                  <a:srgbClr val="C00000"/>
                </a:solidFill>
                <a:latin typeface="Times New Roman" pitchFamily="18" charset="0"/>
              </a:rPr>
              <a:t>Низкомолекулярный гепарин</a:t>
            </a:r>
          </a:p>
        </p:txBody>
      </p:sp>
    </p:spTree>
    <p:extLst>
      <p:ext uri="{BB962C8B-B14F-4D97-AF65-F5344CB8AC3E}">
        <p14:creationId xmlns:p14="http://schemas.microsoft.com/office/powerpoint/2010/main" val="386060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Text Box 2"/>
          <p:cNvSpPr txBox="1">
            <a:spLocks noChangeArrowheads="1"/>
          </p:cNvSpPr>
          <p:nvPr/>
        </p:nvSpPr>
        <p:spPr bwMode="auto">
          <a:xfrm>
            <a:off x="611188" y="0"/>
            <a:ext cx="8091487" cy="8413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r"/>
            <a:endParaRPr lang="ru-RU" altLang="ru-RU" sz="2800" b="1">
              <a:solidFill>
                <a:schemeClr val="accent1"/>
              </a:solidFill>
            </a:endParaRPr>
          </a:p>
        </p:txBody>
      </p:sp>
      <p:sp>
        <p:nvSpPr>
          <p:cNvPr id="49155" name="Text Box 3"/>
          <p:cNvSpPr txBox="1">
            <a:spLocks noChangeArrowheads="1"/>
          </p:cNvSpPr>
          <p:nvPr/>
        </p:nvSpPr>
        <p:spPr bwMode="auto">
          <a:xfrm>
            <a:off x="611188" y="2205038"/>
            <a:ext cx="8101012" cy="2547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115000"/>
              </a:lnSpc>
              <a:buClr>
                <a:srgbClr val="FF3300"/>
              </a:buClr>
              <a:buFont typeface="Wingdings" pitchFamily="2" charset="2"/>
              <a:buNone/>
            </a:pPr>
            <a:r>
              <a:rPr lang="ru-RU" altLang="ru-RU" sz="2000" dirty="0"/>
              <a:t>Серьезным преимуществом </a:t>
            </a:r>
            <a:r>
              <a:rPr lang="ru-RU" altLang="ru-RU" sz="2000" b="1" dirty="0">
                <a:solidFill>
                  <a:srgbClr val="2E6B70"/>
                </a:solidFill>
              </a:rPr>
              <a:t>НМГ</a:t>
            </a:r>
            <a:r>
              <a:rPr lang="ru-RU" altLang="ru-RU" sz="2000" dirty="0"/>
              <a:t> является сравнительно малый риск развития геморрагических осложнений при равной с </a:t>
            </a:r>
            <a:r>
              <a:rPr lang="ru-RU" altLang="ru-RU" sz="2000" b="1" dirty="0" smtClean="0">
                <a:solidFill>
                  <a:srgbClr val="2E6B70"/>
                </a:solidFill>
              </a:rPr>
              <a:t>НГ</a:t>
            </a:r>
            <a:r>
              <a:rPr lang="ru-RU" altLang="ru-RU" sz="2000" dirty="0" smtClean="0"/>
              <a:t> </a:t>
            </a:r>
            <a:r>
              <a:rPr lang="ru-RU" altLang="ru-RU" sz="2000" dirty="0" err="1"/>
              <a:t>антитромботической</a:t>
            </a:r>
            <a:r>
              <a:rPr lang="ru-RU" altLang="ru-RU" sz="2000" dirty="0"/>
              <a:t> активности. </a:t>
            </a:r>
          </a:p>
          <a:p>
            <a:pPr>
              <a:lnSpc>
                <a:spcPct val="115000"/>
              </a:lnSpc>
              <a:buClr>
                <a:srgbClr val="FF3300"/>
              </a:buClr>
              <a:buFont typeface="Wingdings" pitchFamily="2" charset="2"/>
              <a:buNone/>
            </a:pPr>
            <a:r>
              <a:rPr lang="en-US" altLang="ru-RU" sz="2000" dirty="0"/>
              <a:t/>
            </a:r>
            <a:br>
              <a:rPr lang="en-US" altLang="ru-RU" sz="2000" dirty="0"/>
            </a:br>
            <a:r>
              <a:rPr lang="ru-RU" altLang="ru-RU" sz="2000" dirty="0"/>
              <a:t>Это обусловлено их меньшей способностью связываться </a:t>
            </a:r>
            <a:br>
              <a:rPr lang="ru-RU" altLang="ru-RU" sz="2000" dirty="0"/>
            </a:br>
            <a:r>
              <a:rPr lang="ru-RU" altLang="ru-RU" sz="2000" dirty="0"/>
              <a:t>с тромбоцитами, а следовательно, ингибировать их функцию </a:t>
            </a:r>
            <a:br>
              <a:rPr lang="ru-RU" altLang="ru-RU" sz="2000" dirty="0"/>
            </a:br>
            <a:r>
              <a:rPr lang="ru-RU" altLang="ru-RU" sz="2000" dirty="0"/>
              <a:t>и отсутствием влияния на сосудистую проницаемость. </a:t>
            </a:r>
          </a:p>
        </p:txBody>
      </p:sp>
      <p:sp>
        <p:nvSpPr>
          <p:cNvPr id="49156" name="Rectangle 4"/>
          <p:cNvSpPr>
            <a:spLocks noChangeArrowheads="1"/>
          </p:cNvSpPr>
          <p:nvPr/>
        </p:nvSpPr>
        <p:spPr bwMode="auto">
          <a:xfrm>
            <a:off x="3132138" y="6237288"/>
            <a:ext cx="5580062" cy="5556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lvl="2" algn="r"/>
            <a:r>
              <a:rPr lang="ru-RU" altLang="ru-RU" sz="1400">
                <a:solidFill>
                  <a:srgbClr val="2D686D"/>
                </a:solidFill>
              </a:rPr>
              <a:t>Козловская Н.Л. Низкомолекулярные гепарина в практике нефролога. </a:t>
            </a:r>
            <a:br>
              <a:rPr lang="ru-RU" altLang="ru-RU" sz="1400">
                <a:solidFill>
                  <a:srgbClr val="2D686D"/>
                </a:solidFill>
              </a:rPr>
            </a:br>
            <a:r>
              <a:rPr lang="ru-RU" altLang="ru-RU" sz="1400">
                <a:solidFill>
                  <a:srgbClr val="2D686D"/>
                </a:solidFill>
              </a:rPr>
              <a:t>Клиническая нефрология. 2011;1:15-22.</a:t>
            </a:r>
          </a:p>
        </p:txBody>
      </p:sp>
      <p:pic>
        <p:nvPicPr>
          <p:cNvPr id="49157" name="Picture 5" descr="book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9975" y="6450013"/>
            <a:ext cx="7239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158" name="Picture 6" descr="2011_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56500" y="4292600"/>
            <a:ext cx="1155700" cy="166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89687" y="382588"/>
            <a:ext cx="8207375" cy="765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Низкомолекулярный гепарин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68312" y="1628775"/>
            <a:ext cx="8207375" cy="3600399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НМГ как и </a:t>
            </a:r>
            <a:r>
              <a:rPr lang="ru-RU" altLang="zh-CN" sz="2200" dirty="0" smtClean="0"/>
              <a:t>НГ </a:t>
            </a:r>
            <a:r>
              <a:rPr lang="ru-RU" altLang="zh-CN" sz="2200" dirty="0"/>
              <a:t>не проникает через плаценту.</a:t>
            </a:r>
          </a:p>
          <a:p>
            <a:r>
              <a:rPr lang="ru-RU" altLang="zh-CN" sz="2200" dirty="0"/>
              <a:t>Превосходная абсорбция и </a:t>
            </a:r>
            <a:r>
              <a:rPr lang="ru-RU" altLang="zh-CN" sz="2200" dirty="0" err="1"/>
              <a:t>биодоступность</a:t>
            </a:r>
            <a:r>
              <a:rPr lang="ru-RU" altLang="zh-CN" sz="2200" dirty="0"/>
              <a:t> (90% против 10%).</a:t>
            </a:r>
          </a:p>
          <a:p>
            <a:r>
              <a:rPr lang="ru-RU" altLang="zh-CN" sz="2200" dirty="0"/>
              <a:t>Период </a:t>
            </a:r>
            <a:r>
              <a:rPr lang="ru-RU" altLang="zh-CN" sz="2200" dirty="0" err="1"/>
              <a:t>полужизни</a:t>
            </a:r>
            <a:r>
              <a:rPr lang="ru-RU" altLang="zh-CN" sz="2200" dirty="0"/>
              <a:t> в два-четыре раза превышает аналогичный показатель </a:t>
            </a:r>
            <a:r>
              <a:rPr lang="ru-RU" altLang="zh-CN" sz="2200" dirty="0" smtClean="0"/>
              <a:t>НГ</a:t>
            </a:r>
            <a:r>
              <a:rPr lang="ru-RU" altLang="zh-CN" sz="2200" dirty="0"/>
              <a:t>.</a:t>
            </a:r>
          </a:p>
          <a:p>
            <a:r>
              <a:rPr lang="ru-RU" altLang="zh-CN" sz="2200" dirty="0"/>
              <a:t>Не связывается с белками плазмы и за счет этого обеспечивает более предсказуемый и стабильный биологический ответ.</a:t>
            </a:r>
          </a:p>
          <a:p>
            <a:r>
              <a:rPr lang="ru-RU" altLang="zh-CN" sz="2200" dirty="0"/>
              <a:t>Ниже риск </a:t>
            </a:r>
            <a:r>
              <a:rPr lang="ru-RU" altLang="zh-CN" sz="2200" dirty="0" err="1" smtClean="0"/>
              <a:t>степении</a:t>
            </a:r>
            <a:r>
              <a:rPr lang="ru-RU" altLang="zh-CN" sz="2200" dirty="0" smtClean="0"/>
              <a:t> </a:t>
            </a:r>
            <a:r>
              <a:rPr lang="ru-RU" altLang="zh-CN" sz="2200" dirty="0"/>
              <a:t>и гепарин-индуцированной тромбоцитопении.</a:t>
            </a:r>
          </a:p>
        </p:txBody>
      </p:sp>
    </p:spTree>
    <p:extLst>
      <p:ext uri="{BB962C8B-B14F-4D97-AF65-F5344CB8AC3E}">
        <p14:creationId xmlns:p14="http://schemas.microsoft.com/office/powerpoint/2010/main" val="1784895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Text Box 2"/>
          <p:cNvSpPr txBox="1">
            <a:spLocks noChangeArrowheads="1"/>
          </p:cNvSpPr>
          <p:nvPr/>
        </p:nvSpPr>
        <p:spPr bwMode="auto">
          <a:xfrm>
            <a:off x="611188" y="0"/>
            <a:ext cx="8091487" cy="8413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r"/>
            <a:endParaRPr lang="ru-RU" altLang="ru-RU" sz="2800" b="1">
              <a:solidFill>
                <a:schemeClr val="accent1"/>
              </a:solidFill>
            </a:endParaRPr>
          </a:p>
        </p:txBody>
      </p:sp>
      <p:sp>
        <p:nvSpPr>
          <p:cNvPr id="71683" name="Text Box 3"/>
          <p:cNvSpPr txBox="1">
            <a:spLocks noChangeArrowheads="1"/>
          </p:cNvSpPr>
          <p:nvPr/>
        </p:nvSpPr>
        <p:spPr bwMode="auto">
          <a:xfrm>
            <a:off x="623888" y="44450"/>
            <a:ext cx="8101012" cy="65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115000"/>
              </a:lnSpc>
              <a:buClr>
                <a:srgbClr val="FF3300"/>
              </a:buClr>
              <a:buFont typeface="Wingdings" pitchFamily="2" charset="2"/>
              <a:buNone/>
            </a:pPr>
            <a:r>
              <a:rPr lang="ru-RU" altLang="ru-RU" sz="1600" b="1">
                <a:solidFill>
                  <a:schemeClr val="accent1"/>
                </a:solidFill>
              </a:rPr>
              <a:t>Рекомендации по диагностике и лечению тромбоза глубоких вен и тромбоэмболии легочной артерии во время беременности и в послеродовом периоде</a:t>
            </a:r>
          </a:p>
        </p:txBody>
      </p:sp>
      <p:pic>
        <p:nvPicPr>
          <p:cNvPr id="7168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908050"/>
            <a:ext cx="9140825" cy="5767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Text Box 2"/>
          <p:cNvSpPr txBox="1">
            <a:spLocks noChangeArrowheads="1"/>
          </p:cNvSpPr>
          <p:nvPr/>
        </p:nvSpPr>
        <p:spPr bwMode="auto">
          <a:xfrm>
            <a:off x="611188" y="0"/>
            <a:ext cx="8091487" cy="8413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r"/>
            <a:endParaRPr lang="ru-RU" altLang="ru-RU" sz="2800" b="1">
              <a:solidFill>
                <a:schemeClr val="accent1"/>
              </a:solidFill>
            </a:endParaRPr>
          </a:p>
        </p:txBody>
      </p:sp>
      <p:sp>
        <p:nvSpPr>
          <p:cNvPr id="72707" name="Text Box 3"/>
          <p:cNvSpPr txBox="1">
            <a:spLocks noChangeArrowheads="1"/>
          </p:cNvSpPr>
          <p:nvPr/>
        </p:nvSpPr>
        <p:spPr bwMode="auto">
          <a:xfrm>
            <a:off x="611188" y="1150938"/>
            <a:ext cx="8108950" cy="2392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115000"/>
              </a:lnSpc>
              <a:buClr>
                <a:srgbClr val="FF3300"/>
              </a:buClr>
              <a:buFont typeface="Wingdings" pitchFamily="2" charset="2"/>
              <a:buNone/>
            </a:pPr>
            <a:r>
              <a:rPr lang="ru-RU" altLang="ru-RU" sz="2000" dirty="0"/>
              <a:t>При введении НМГ в настоящее время нет рекомендаций по целевому  уровню </a:t>
            </a:r>
            <a:r>
              <a:rPr lang="ru-RU" altLang="ru-RU" sz="2000" dirty="0" err="1"/>
              <a:t>анти-Xa</a:t>
            </a:r>
            <a:r>
              <a:rPr lang="ru-RU" altLang="ru-RU" sz="2000" dirty="0"/>
              <a:t> или доз НМГ. </a:t>
            </a:r>
            <a:br>
              <a:rPr lang="ru-RU" altLang="ru-RU" sz="2000" dirty="0"/>
            </a:br>
            <a:r>
              <a:rPr lang="ru-RU" altLang="ru-RU" sz="1000" dirty="0"/>
              <a:t/>
            </a:r>
            <a:br>
              <a:rPr lang="ru-RU" altLang="ru-RU" sz="1000" dirty="0"/>
            </a:br>
            <a:r>
              <a:rPr lang="ru-RU" altLang="ru-RU" sz="2000" dirty="0" err="1"/>
              <a:t>Антикоагуляционную</a:t>
            </a:r>
            <a:r>
              <a:rPr lang="ru-RU" altLang="ru-RU" sz="2000" dirty="0"/>
              <a:t> терапию следует проводить до окончания беременности и хотя бы еще </a:t>
            </a:r>
            <a:r>
              <a:rPr lang="ru-RU" altLang="ru-RU" sz="2000" b="1" dirty="0">
                <a:solidFill>
                  <a:srgbClr val="2E6B70"/>
                </a:solidFill>
              </a:rPr>
              <a:t>6</a:t>
            </a:r>
            <a:r>
              <a:rPr lang="ru-RU" altLang="ru-RU" sz="2000" dirty="0"/>
              <a:t> недель после родов в случае развития проксимального тромбоза глубоких вен или легочной тромбоэмболии </a:t>
            </a:r>
            <a:r>
              <a:rPr lang="ru-RU" altLang="ru-RU" sz="2000" dirty="0" smtClean="0"/>
              <a:t>во </a:t>
            </a:r>
            <a:r>
              <a:rPr lang="ru-RU" altLang="ru-RU" sz="2000" dirty="0"/>
              <a:t>время беременности. </a:t>
            </a:r>
          </a:p>
        </p:txBody>
      </p:sp>
      <p:pic>
        <p:nvPicPr>
          <p:cNvPr id="72708" name="Picture 5" descr="D:\inteltek\Slaids\2013\10\II\Untitled-2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03600" y="3644900"/>
            <a:ext cx="4889500" cy="295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89687" y="382588"/>
            <a:ext cx="8207375" cy="765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Низкомолекулярный гепарин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70959" y="2132856"/>
            <a:ext cx="8207375" cy="1944216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b="1" dirty="0">
                <a:solidFill>
                  <a:srgbClr val="C00000"/>
                </a:solidFill>
              </a:rPr>
              <a:t>В течение всей беременности: </a:t>
            </a:r>
            <a:r>
              <a:rPr lang="ru-RU" altLang="zh-CN" sz="2200" dirty="0"/>
              <a:t>AHA/ACC(C), ACCP (1A</a:t>
            </a:r>
            <a:r>
              <a:rPr lang="ru-RU" altLang="zh-CN" sz="2200" dirty="0" smtClean="0"/>
              <a:t>).</a:t>
            </a:r>
            <a:br>
              <a:rPr lang="ru-RU" altLang="zh-CN" sz="2200" dirty="0" smtClean="0"/>
            </a:br>
            <a:endParaRPr lang="ru-RU" altLang="zh-CN" sz="2200" dirty="0"/>
          </a:p>
          <a:p>
            <a:r>
              <a:rPr lang="ru-RU" altLang="zh-CN" sz="2200" b="1" dirty="0" smtClean="0">
                <a:solidFill>
                  <a:srgbClr val="C00000"/>
                </a:solidFill>
              </a:rPr>
              <a:t>6–12 </a:t>
            </a:r>
            <a:r>
              <a:rPr lang="ru-RU" altLang="zh-CN" sz="2200" b="1" dirty="0">
                <a:solidFill>
                  <a:srgbClr val="C00000"/>
                </a:solidFill>
              </a:rPr>
              <a:t>недель: </a:t>
            </a:r>
            <a:r>
              <a:rPr lang="ru-RU" altLang="zh-CN" sz="2200" dirty="0"/>
              <a:t>AHA/ACC (C), ACCP (1A), ESC (</a:t>
            </a:r>
            <a:r>
              <a:rPr lang="ru-RU" altLang="zh-CN" sz="2200" dirty="0" err="1"/>
              <a:t>IIa</a:t>
            </a:r>
            <a:r>
              <a:rPr lang="ru-RU" altLang="zh-CN" sz="2200" dirty="0" smtClean="0"/>
              <a:t>).</a:t>
            </a:r>
            <a:br>
              <a:rPr lang="ru-RU" altLang="zh-CN" sz="2200" dirty="0" smtClean="0"/>
            </a:br>
            <a:endParaRPr lang="ru-RU" altLang="zh-CN" sz="2200" dirty="0"/>
          </a:p>
          <a:p>
            <a:r>
              <a:rPr lang="ru-RU" altLang="zh-CN" sz="2200" b="1" dirty="0">
                <a:solidFill>
                  <a:srgbClr val="C00000"/>
                </a:solidFill>
              </a:rPr>
              <a:t>36 недель до 36 часов до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>родов: </a:t>
            </a:r>
            <a:r>
              <a:rPr lang="ru-RU" altLang="zh-CN" sz="2200" dirty="0"/>
              <a:t>ESC (I)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68311" y="1255491"/>
            <a:ext cx="30347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j-lt"/>
              </a:rPr>
              <a:t>Рекомендации руководства</a:t>
            </a:r>
          </a:p>
        </p:txBody>
      </p:sp>
    </p:spTree>
    <p:extLst>
      <p:ext uri="{BB962C8B-B14F-4D97-AF65-F5344CB8AC3E}">
        <p14:creationId xmlns:p14="http://schemas.microsoft.com/office/powerpoint/2010/main" val="1421444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89687" y="382588"/>
            <a:ext cx="8207375" cy="765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Низкомолекулярный гепарин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70959" y="2132856"/>
            <a:ext cx="8207375" cy="2880320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Все рекомендуют </a:t>
            </a:r>
            <a:r>
              <a:rPr lang="ru-RU" altLang="zh-CN" sz="2200" b="1" dirty="0">
                <a:solidFill>
                  <a:srgbClr val="C00000"/>
                </a:solidFill>
              </a:rPr>
              <a:t>пик</a:t>
            </a:r>
            <a:r>
              <a:rPr lang="ru-RU" altLang="zh-CN" sz="2200" dirty="0"/>
              <a:t> анти-Ха</a:t>
            </a:r>
            <a:r>
              <a:rPr lang="ru-RU" altLang="zh-CN" sz="2200" dirty="0" smtClean="0"/>
              <a:t>.</a:t>
            </a:r>
            <a:br>
              <a:rPr lang="ru-RU" altLang="zh-CN" sz="2200" dirty="0" smtClean="0"/>
            </a:br>
            <a:endParaRPr lang="ru-RU" altLang="zh-CN" sz="2200" dirty="0"/>
          </a:p>
          <a:p>
            <a:r>
              <a:rPr lang="ru-RU" altLang="zh-CN" sz="2200" dirty="0"/>
              <a:t>AHA/ACC 0,7-1,2 МЕ/мл</a:t>
            </a:r>
            <a:r>
              <a:rPr lang="ru-RU" altLang="zh-CN" sz="2200" dirty="0" smtClean="0"/>
              <a:t>.</a:t>
            </a:r>
            <a:br>
              <a:rPr lang="ru-RU" altLang="zh-CN" sz="2200" dirty="0" smtClean="0"/>
            </a:br>
            <a:endParaRPr lang="ru-RU" altLang="zh-CN" sz="2200" dirty="0"/>
          </a:p>
          <a:p>
            <a:r>
              <a:rPr lang="ru-RU" altLang="zh-CN" sz="2200" dirty="0"/>
              <a:t>ACCP 0,35-0,70 МЕ/мл</a:t>
            </a:r>
            <a:r>
              <a:rPr lang="ru-RU" altLang="zh-CN" sz="2200" dirty="0" smtClean="0"/>
              <a:t>.</a:t>
            </a:r>
            <a:br>
              <a:rPr lang="ru-RU" altLang="zh-CN" sz="2200" dirty="0" smtClean="0"/>
            </a:br>
            <a:endParaRPr lang="ru-RU" altLang="zh-CN" sz="2200" dirty="0"/>
          </a:p>
          <a:p>
            <a:r>
              <a:rPr lang="ru-RU" altLang="zh-CN" sz="2200" dirty="0"/>
              <a:t>ESC 0,8-1,2 МЕ/мл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57955" y="1763524"/>
            <a:ext cx="15059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j-lt"/>
              </a:rPr>
              <a:t>Мониторинг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68311" y="1255491"/>
            <a:ext cx="30347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j-lt"/>
              </a:rPr>
              <a:t>Рекомендации руководства</a:t>
            </a:r>
          </a:p>
        </p:txBody>
      </p:sp>
    </p:spTree>
    <p:extLst>
      <p:ext uri="{BB962C8B-B14F-4D97-AF65-F5344CB8AC3E}">
        <p14:creationId xmlns:p14="http://schemas.microsoft.com/office/powerpoint/2010/main" val="2135683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468313" y="4280003"/>
            <a:ext cx="4103687" cy="1237229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</a:pPr>
            <a:r>
              <a:rPr lang="ru-RU" sz="2000" dirty="0"/>
              <a:t>Низкая частота </a:t>
            </a:r>
            <a:r>
              <a:rPr lang="ru-RU" sz="2000" dirty="0" smtClean="0"/>
              <a:t>тромбоэмболий.</a:t>
            </a:r>
          </a:p>
          <a:p>
            <a:pPr marL="0" indent="0">
              <a:lnSpc>
                <a:spcPct val="80000"/>
              </a:lnSpc>
              <a:buNone/>
            </a:pPr>
            <a:r>
              <a:rPr lang="ru-RU" sz="2000" dirty="0">
                <a:solidFill>
                  <a:srgbClr val="C00000"/>
                </a:solidFill>
              </a:rPr>
              <a:t>Нет необходимости в приеме АК</a:t>
            </a:r>
            <a:r>
              <a:rPr lang="ru-RU" sz="2000" dirty="0" smtClean="0">
                <a:solidFill>
                  <a:srgbClr val="C00000"/>
                </a:solidFill>
              </a:rPr>
              <a:t>.</a:t>
            </a:r>
          </a:p>
          <a:p>
            <a:pPr marL="0" indent="0">
              <a:lnSpc>
                <a:spcPct val="80000"/>
              </a:lnSpc>
              <a:buNone/>
            </a:pPr>
            <a:r>
              <a:rPr lang="ru-RU" sz="2000" dirty="0"/>
              <a:t>Уступает профиль гемодинамики</a:t>
            </a:r>
            <a:r>
              <a:rPr lang="ru-RU" sz="2000" dirty="0" smtClean="0"/>
              <a:t>.</a:t>
            </a:r>
          </a:p>
          <a:p>
            <a:pPr marL="0" indent="0">
              <a:lnSpc>
                <a:spcPct val="80000"/>
              </a:lnSpc>
              <a:buNone/>
            </a:pPr>
            <a:r>
              <a:rPr lang="ru-RU" sz="2000" dirty="0">
                <a:solidFill>
                  <a:srgbClr val="C00000"/>
                </a:solidFill>
              </a:rPr>
              <a:t>Ограниченный срок эксплуатации.</a:t>
            </a:r>
          </a:p>
        </p:txBody>
      </p:sp>
      <p:sp>
        <p:nvSpPr>
          <p:cNvPr id="4" name="Rectangle 516"/>
          <p:cNvSpPr>
            <a:spLocks noChangeArrowheads="1"/>
          </p:cNvSpPr>
          <p:nvPr/>
        </p:nvSpPr>
        <p:spPr bwMode="auto">
          <a:xfrm>
            <a:off x="468312" y="179210"/>
            <a:ext cx="8218487" cy="585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Искусственные клапаны сердца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471609" y="6237312"/>
            <a:ext cx="51845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i="1" dirty="0" err="1">
                <a:solidFill>
                  <a:srgbClr val="663300"/>
                </a:solidFill>
              </a:rPr>
              <a:t>Pibarot</a:t>
            </a:r>
            <a:r>
              <a:rPr lang="ru-RU" sz="1600" i="1" dirty="0">
                <a:solidFill>
                  <a:srgbClr val="663300"/>
                </a:solidFill>
              </a:rPr>
              <a:t> &amp; </a:t>
            </a:r>
            <a:r>
              <a:rPr lang="en-US" sz="1600" i="1" dirty="0" err="1">
                <a:solidFill>
                  <a:srgbClr val="663300"/>
                </a:solidFill>
              </a:rPr>
              <a:t>Dumensil</a:t>
            </a:r>
            <a:r>
              <a:rPr lang="ru-RU" sz="1600" i="1" dirty="0">
                <a:solidFill>
                  <a:srgbClr val="663300"/>
                </a:solidFill>
              </a:rPr>
              <a:t>. </a:t>
            </a:r>
            <a:r>
              <a:rPr lang="en-US" sz="1600" i="1" dirty="0">
                <a:solidFill>
                  <a:srgbClr val="663300"/>
                </a:solidFill>
              </a:rPr>
              <a:t>Circulation</a:t>
            </a:r>
            <a:r>
              <a:rPr lang="ru-RU" sz="1600" i="1" dirty="0">
                <a:solidFill>
                  <a:srgbClr val="663300"/>
                </a:solidFill>
              </a:rPr>
              <a:t> 2009; 119:1034</a:t>
            </a:r>
          </a:p>
        </p:txBody>
      </p:sp>
      <p:pic>
        <p:nvPicPr>
          <p:cNvPr id="2050" name="Picture 2" descr="C:\Users\USER\Desktop\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7620" y="476672"/>
            <a:ext cx="2688905" cy="2984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USER\Desktop\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620688"/>
            <a:ext cx="2887001" cy="2945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454703" y="3424697"/>
            <a:ext cx="4103688" cy="360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80000"/>
              </a:lnSpc>
              <a:buNone/>
            </a:pPr>
            <a:r>
              <a:rPr lang="ru-RU" sz="2000" b="1" dirty="0" err="1"/>
              <a:t>Биопротезированные</a:t>
            </a:r>
            <a:r>
              <a:rPr lang="ru-RU" sz="2000" b="1" dirty="0"/>
              <a:t> клапаны</a:t>
            </a: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4558391" y="3424697"/>
            <a:ext cx="4103688" cy="360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80000"/>
              </a:lnSpc>
              <a:buNone/>
            </a:pPr>
            <a:r>
              <a:rPr lang="ru-RU" sz="2000" b="1" dirty="0"/>
              <a:t>Механические клапаны</a:t>
            </a: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4583112" y="4273457"/>
            <a:ext cx="4103687" cy="1243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80000"/>
              </a:lnSpc>
              <a:buNone/>
            </a:pPr>
            <a:r>
              <a:rPr lang="ru-RU" sz="2000" dirty="0"/>
              <a:t>Высокая частота тромбоэмболий</a:t>
            </a:r>
            <a:r>
              <a:rPr lang="ru-RU" sz="2000" dirty="0" smtClean="0"/>
              <a:t>.</a:t>
            </a:r>
          </a:p>
          <a:p>
            <a:pPr marL="0" indent="0">
              <a:lnSpc>
                <a:spcPct val="80000"/>
              </a:lnSpc>
              <a:buNone/>
            </a:pPr>
            <a:r>
              <a:rPr lang="ru-RU" sz="2000" dirty="0">
                <a:solidFill>
                  <a:srgbClr val="C00000"/>
                </a:solidFill>
              </a:rPr>
              <a:t>Обязательный прием </a:t>
            </a:r>
            <a:r>
              <a:rPr lang="ru-RU" sz="2000" dirty="0" smtClean="0">
                <a:solidFill>
                  <a:srgbClr val="C00000"/>
                </a:solidFill>
              </a:rPr>
              <a:t>АК.</a:t>
            </a:r>
          </a:p>
          <a:p>
            <a:pPr marL="0" indent="0">
              <a:lnSpc>
                <a:spcPct val="80000"/>
              </a:lnSpc>
              <a:buNone/>
            </a:pPr>
            <a:r>
              <a:rPr lang="ru-RU" sz="2000" dirty="0"/>
              <a:t>Улучшенная гемодинамика</a:t>
            </a:r>
            <a:r>
              <a:rPr lang="ru-RU" sz="2000" dirty="0" smtClean="0"/>
              <a:t>.</a:t>
            </a:r>
          </a:p>
          <a:p>
            <a:pPr marL="0" indent="0">
              <a:lnSpc>
                <a:spcPct val="80000"/>
              </a:lnSpc>
              <a:buNone/>
            </a:pPr>
            <a:r>
              <a:rPr lang="ru-RU" sz="2000" dirty="0">
                <a:solidFill>
                  <a:srgbClr val="C00000"/>
                </a:solidFill>
              </a:rPr>
              <a:t>Длительный срок эксплуатации</a:t>
            </a:r>
            <a:r>
              <a:rPr lang="ru-RU" sz="2000" dirty="0" smtClean="0">
                <a:solidFill>
                  <a:srgbClr val="C00000"/>
                </a:solidFill>
              </a:rPr>
              <a:t>.</a:t>
            </a:r>
            <a:endParaRPr lang="ru-RU" sz="2000" dirty="0">
              <a:solidFill>
                <a:srgbClr val="C00000"/>
              </a:solidFill>
            </a:endParaRPr>
          </a:p>
        </p:txBody>
      </p:sp>
      <p:pic>
        <p:nvPicPr>
          <p:cNvPr id="11" name="Picture 5" descr="D:\inteltek\Slaids\2014\07\31\cover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3986" y="793"/>
            <a:ext cx="1510013" cy="1627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7860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76143" y="1635660"/>
            <a:ext cx="81995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j-lt"/>
              </a:rPr>
              <a:t>Исход всех беременностей до и после внедрения НМГ для механических искусственных клапанов сердца в 2007</a:t>
            </a:r>
          </a:p>
        </p:txBody>
      </p:sp>
      <p:sp>
        <p:nvSpPr>
          <p:cNvPr id="8" name="Rectangle 516"/>
          <p:cNvSpPr>
            <a:spLocks noChangeArrowheads="1"/>
          </p:cNvSpPr>
          <p:nvPr/>
        </p:nvSpPr>
        <p:spPr bwMode="auto">
          <a:xfrm>
            <a:off x="468313" y="0"/>
            <a:ext cx="8207375" cy="1484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Исход беременности у женщин </a:t>
            </a:r>
            <a: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механическими искусственными клапанами сердца на </a:t>
            </a:r>
            <a:r>
              <a:rPr lang="ru-RU" sz="3200" b="1" dirty="0" err="1">
                <a:solidFill>
                  <a:schemeClr val="tx2"/>
                </a:solidFill>
                <a:latin typeface="Times New Roman" pitchFamily="18" charset="0"/>
              </a:rPr>
              <a:t>варфарине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 и НМГ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471609" y="6237312"/>
            <a:ext cx="51845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a-DK" sz="1600" i="1" dirty="0">
                <a:solidFill>
                  <a:srgbClr val="663300"/>
                </a:solidFill>
              </a:rPr>
              <a:t>Valayatham V. et al. Med. J. Malaysia 2012; 67:591</a:t>
            </a:r>
            <a:endParaRPr lang="ru-RU" sz="1600" i="1" dirty="0">
              <a:solidFill>
                <a:srgbClr val="6633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71692" y="5157192"/>
            <a:ext cx="81958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latin typeface="+mj-lt"/>
              </a:rPr>
              <a:t>11 беременностей на </a:t>
            </a:r>
            <a:r>
              <a:rPr lang="ru-RU" sz="1600" b="1" i="1" dirty="0" err="1">
                <a:latin typeface="+mj-lt"/>
              </a:rPr>
              <a:t>варфарине</a:t>
            </a:r>
            <a:r>
              <a:rPr lang="ru-RU" sz="1600" b="1" i="1" dirty="0">
                <a:latin typeface="+mj-lt"/>
              </a:rPr>
              <a:t> и 5 беременностей на НМГ, проведенных на основании пикового уровня и уровня плато анти-Ха у одних и тех же 5 беременных.</a:t>
            </a:r>
          </a:p>
        </p:txBody>
      </p:sp>
      <p:sp>
        <p:nvSpPr>
          <p:cNvPr id="3" name="AutoShape 2" descr="data:image/jpeg;base64,/9j/4AAQSkZJRgABAQAAAQABAAD/2wCEAAkGBxIQERQUExQTERQVFhYXFxMUDRsVGBgVFhEWGCATGRYYKCkgGB0lGxYWLT0hKi4tMzAuGSMzODMuNygtLysBCgoKDg0OGxAQGzUlHSUsLDErLCwsLDUsLTQuLC80MjcsLCw3LCwsLCwsLCwxLCwsNC8sLCwsLDQsLCwsLDQsLP/AABEIAM4AkQMBIgACEQEDEQH/xAAbAAEAAwEBAQEAAAAAAAAAAAAABAUGAwIBB//EADoQAAIBAgMFBQYEBAcAAAAAAAECAAMREiExBAVBUVMVFiIykgYTFGFi4UJScZGBk6GxIzNDY3Ky8P/EABgBAQEBAQEAAAAAAAAAAAAAAAABAgME/8QAJBEBAAICAgIBBAMAAAAAAAAAAAERAhMSUQMhMSJBYYEyodH/2gAMAwEAAhEDEQA/AP0/suj01jsuj01kyJ6nitD7Lo9NY7Lo9NZMiC0Psuj01jsuj01kyILQ+y6PTWOy6PTWTIgtD7Lo9NY7Lo9NZMiC0Psuj01jsuj01kyILQ+y6PTWOy6PTWTIgtD7Lo9NY7Lo9NZMiC0Psuj01jsuj01kyILQ+y6PTWJMiCyIiEIiZb2j3lUasuz0XCuDcgNYm4GFSfw38f7TOecYY23hjymmpiV2z7WalOm58ONbgC+Q5/P9JRb63nVp7QKmLBSpOEcX8LL4WZiOFke9/l8pjLyzjdx6iv7/AMXHx36iWuicdkrCoiuCCGUG4NxmOBnadWCIiEIiICIiAiIgIiICIiAiIgJmN7V6KbSzMj3sgLghCGXFhZb+bzTQ1NoUYvEpKjy4xe+WXyuSB/EShrbxdnDVNgqtgAKsGVj4luVsbaZfxvkOMmMZ/k3jMx8OK76NIKiJjRNC1wbcBlcNrw5SNtO2U3Vg6s9SpiBFwqriUrkpOZwnjrOtWuhJw7HWa5y9zXAUnAWPEAaf1HOd02lSMK7E5wOxw4lBtTp4g7Z38T3UA3uR+2suGUVMLEzE3DQbE4NNCoIXCLArY2AtmOE7yFu3bmqqS9JqDA2wuy3PhUllscxc24ZgyYJGH2IiEIiICIiAiIgIiICIiAiZLvHX+j0feddn31tNQ2RUY5fgtqbDU8511ZFrTafZ7Zaju7UgXqWxtiILWBAvY8iZx2T2V2OkUZaKhkChWubjB5TyyuZFq7z2xQSyKANTguBY2zIOWfCRu8df6PR95I8Mz8LymFnS9k9iS2Ggi2FhYnS97a857PszshIJoglbW8bfhJI48CT+5lcN9bUUL4UwA2LYMgeWsNvraggcqgQmwYpkT8s840ycpTl9lNiBuKCg3vqdbAc+QH7S2oUVRVRRhVQFUDgALATMU9/7QxAUIxOQApkkn959qb92lfMqjMjOkdRqL3ztGmS7aqJku8df/b9H3nSpvzaVCllVcQut6drjmM9JdWSW1MTL7RvraaZs6opIvYpw55Gcu8df6PR941ZDWxMl3jr/AEej7x3jr/R6PvGnItrYmWO/Npw48K4b2xe7yvyvec+8df6PR941ZFtbEyXeOv8AR6PvHeOv9Ho+8aci2tiZLvHX+j0feI05FqiWns8l6wY+VPGRe1yoOEfreVc+ET05RcUkTU20m6VDU1FTCffVSzhm0RAW55XYmRN5UqKJZVuSqFXDXzJJIvfOwsLWytK7ZthercqBYWBJYAXOgueOUDY39172wwYsN7/i5WnPjEZfLV+vhb7NhWg9JzhBRamouWNTyj54QBJO1ojBVex91QxKgIIxu9iAL54QBlM/V2J0RXYBVe+G5zNuNuXznmnsrMjOAMKWxG4yvplxjhE+7Xl9qaLZqVFHWpTVbBatTNwSGUWWkM9b5/xnLaqCBDo700SyGpdcdRiXexOg/vM5YRYS6vd2nP8ADQnYKfu38NMsaeJQj38TvYAMTfw8rTht9L3m1U6QzVRTpgjSwAJN/wCLSoagQoYrZWJAa2RI1nuhtLoCEYqDqBlwI/sTEYT82co6aGstGpUFRsDK1R8ZZ/JTpjCqgczYfvOFDYqJVTZT/hO2b6uz2RTnwGsoLT5aNc9nP8NFV2alirAU0IphVQ4z4nbCL65gEkzt2dRFXSmULWsGv5KeY18N2vbWZe0YRJrns5x0td5+CjRpjLzVCL3sWbIH5hQJVwBE6YxUMzNkRE0hERASy3aKfu2uyCoXQAuR4aerMAdTJndhuovpMd2G6i+kzllnjMVax6c987TT90FpYcL1HcqCCQMgoI1HEz1Sr01ovSZlYBaTKA4IZ8bEi/DUX+Qnruw3UX0mO7DdRfSZj6Kq2uU3aRtNSkxW9WkQq008ynzNd3BNwANNNBwnjFR8Sh6SK9YuRiBGCmPCpF8sRvOXdhuovpMd2G6i+kyVh2vKenSk9Eui/wCHY0KmN7KcLeIgmwsCtv6yPsNWiQ2LAotZGOHEMGfiQ+bETr/aSewKuHB71cOf4OZva+pF5y7sN1F9Jj6e05OoFACn46OQQMAy6s12a5uABkNL/pKTeDKarlAAuI4QNLX4S27sN1F9Jjuw3UX0maxnGJu0mbUMS+7sN1F9Jjuw3UX0mb2Y9pShiX3dhuovpMd2G6i+kxsx7KUMS+7sN1F9Jjuw3UX0mNmPZShiX3dhuovpMd2G6i+kxsx7KUMS+7sN1F9JiNmPZTTRETxqREQEREBERAREQEREBERAREQEREBERAREQEREBERAREQEREBERAREQEREBERAREQEREBERAREQEREBERAREQEREBERAREQEREBERAREQEREBERAREQEREBERAREQEREBERAREQEREBERAREQEREBERASn272hp0XKOlW4dVuKRINwDiBF7gA3/prLieVqA3sQbGx8QyPI8jErCooe0+zObKal8sjszi97cSLcRJWz71R6zUQtTEuK7GnZbqQLXOuuuhsZMasoIBZQToCwuf0HHQ/tPWIXtcXte187aXtykPT7ERKhERAREQEREBERAREQEREBERASqr+zmyu71GpXepm7e9fM4Qt7A2XIDS2ktZS1dyVS7Mu17RTuzEKApCh3xYRfhJKw6t7N7IQgNEEU/J428NyTkb31YybQ2GmhUqtiqe7HiOSYgcNibagZ6yuTcjgufiazY6YQ4rHR8QfK3iAJGVsjPWz7lZKiv8RXYBsWBmyOZyPyz/8AcH6X9reIiVkiIgIiICIiB8ZgAScgMyTwHOR/j6PUp/zBG8v8mp/wf/qZhJ18fj5QTLertdM6Op/RgZ9G1J+ZfVMbsW86tEWRgovi8inOwF8xyAnWnvuuujgZ3/y11xYuXMzU+Gfstw1o2pPzL6p8G2UyL41tpfENeUyS76rgWxDh/pLwa44c5wp7fUVMAayYsWGwsWxA3PPMCNMpcNr8Un5l9UDak/MvqmQG+K2uIcf9NeIty5Qu+K4BGPXPyLfL52k0ytw142pPzry83HlPh2umBfGoHPELTJUt9V1Fgw1Jzpqc211E8bRvWrUUqzAhrAjABo2LgOcumS4bH4pLXxLbnij4pPzr6uHOZJd+VwoXGLBcIHu10sBbT5CfG3zXLY8QxWt5ARa4NrEW1Ak05Fw13xVP86+qePj6PUp/zBMp21Xz8euvgX5fLLT+/OV5M1Hh7SZj7N38fR6lP+YImEiXRHaW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076" name="Picture 4" descr="http://www.e-mjm.org/images/vol65no1.g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2315" y="5778351"/>
            <a:ext cx="761613" cy="1079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 descr="D:\inteltek\Slaids\2014\07\31\т14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226" y="2328862"/>
            <a:ext cx="8169960" cy="2737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5707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16"/>
          <p:cNvSpPr>
            <a:spLocks noChangeArrowheads="1"/>
          </p:cNvSpPr>
          <p:nvPr/>
        </p:nvSpPr>
        <p:spPr bwMode="auto">
          <a:xfrm>
            <a:off x="468313" y="0"/>
            <a:ext cx="8207375" cy="1484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Изменения </a:t>
            </a:r>
            <a:r>
              <a:rPr lang="ru-RU" sz="3200" b="1" dirty="0" err="1">
                <a:solidFill>
                  <a:schemeClr val="tx2"/>
                </a:solidFill>
                <a:latin typeface="Times New Roman" pitchFamily="18" charset="0"/>
              </a:rPr>
              <a:t>фармакокинетики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 НМГ </a:t>
            </a:r>
            <a: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во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время беременност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987824" y="6237312"/>
            <a:ext cx="56683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a-DK" sz="1600" i="1" dirty="0">
                <a:solidFill>
                  <a:srgbClr val="663300"/>
                </a:solidFill>
              </a:rPr>
              <a:t>Casele H.L. et al. Am. J. Obstet. Gynecol. 1999; 181:1113</a:t>
            </a:r>
            <a:endParaRPr lang="ru-RU" sz="1600" i="1" dirty="0">
              <a:solidFill>
                <a:srgbClr val="6633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71692" y="4994592"/>
            <a:ext cx="81958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i="1" dirty="0">
                <a:latin typeface="+mj-lt"/>
              </a:rPr>
              <a:t>Средняя активность фактора анти-Ха после </a:t>
            </a:r>
            <a:r>
              <a:rPr lang="ru-RU" sz="1400" b="1" i="1" dirty="0" smtClean="0">
                <a:latin typeface="+mj-lt"/>
              </a:rPr>
              <a:t>подкожного </a:t>
            </a:r>
            <a:r>
              <a:rPr lang="ru-RU" sz="1400" b="1" i="1" dirty="0">
                <a:latin typeface="+mj-lt"/>
              </a:rPr>
              <a:t>введения 40 мг </a:t>
            </a:r>
            <a:r>
              <a:rPr lang="ru-RU" sz="1400" b="1" i="1" dirty="0" err="1">
                <a:latin typeface="+mj-lt"/>
              </a:rPr>
              <a:t>эноксапарина</a:t>
            </a:r>
            <a:r>
              <a:rPr lang="ru-RU" sz="1400" b="1" i="1" dirty="0">
                <a:latin typeface="+mj-lt"/>
              </a:rPr>
              <a:t> натрия (4000Е) на ранних сроках беременности, на поздних сроках беременности </a:t>
            </a:r>
            <a:r>
              <a:rPr lang="en-US" sz="1400" b="1" i="1" dirty="0" smtClean="0">
                <a:latin typeface="+mj-lt"/>
              </a:rPr>
              <a:t/>
            </a:r>
            <a:br>
              <a:rPr lang="en-US" sz="1400" b="1" i="1" dirty="0" smtClean="0">
                <a:latin typeface="+mj-lt"/>
              </a:rPr>
            </a:br>
            <a:r>
              <a:rPr lang="ru-RU" sz="1400" b="1" i="1" dirty="0" smtClean="0">
                <a:latin typeface="+mj-lt"/>
              </a:rPr>
              <a:t>и </a:t>
            </a:r>
            <a:r>
              <a:rPr lang="ru-RU" sz="1400" b="1" i="1" dirty="0">
                <a:latin typeface="+mj-lt"/>
              </a:rPr>
              <a:t>после родов у одних и тех же 13 женщин.</a:t>
            </a:r>
          </a:p>
        </p:txBody>
      </p:sp>
      <p:sp>
        <p:nvSpPr>
          <p:cNvPr id="3" name="AutoShape 2" descr="data:image/jpeg;base64,/9j/4AAQSkZJRgABAQAAAQABAAD/2wCEAAkGBxIQERQUExQTERQVFhYXFxMUDRsVGBgVFhEWGCATGRYYKCkgGB0lGxYWLT0hKi4tMzAuGSMzODMuNygtLysBCgoKDg0OGxAQGzUlHSUsLDErLCwsLDUsLTQuLC80MjcsLCw3LCwsLCwsLCwxLCwsNC8sLCwsLDQsLCwsLDQsLP/AABEIAM4AkQMBIgACEQEDEQH/xAAbAAEAAwEBAQEAAAAAAAAAAAAABAUGAwIBB//EADoQAAIBAgMFBQYEBAcAAAAAAAECAAMREiExBAVBUVMVFiIykgYTFGFi4UJScZGBk6GxIzNDY3Ky8P/EABgBAQEBAQEAAAAAAAAAAAAAAAABAgME/8QAJBEBAAICAgIBBAMAAAAAAAAAAAERAhMSUQMhMSJBYYEyodH/2gAMAwEAAhEDEQA/AP0/suj01jsuj01kyJ6nitD7Lo9NY7Lo9NZMiC0Psuj01jsuj01kyILQ+y6PTWOy6PTWTIgtD7Lo9NY7Lo9NZMiC0Psuj01jsuj01kyILQ+y6PTWOy6PTWTIgtD7Lo9NY7Lo9NZMiC0Psuj01jsuj01kyILQ+y6PTWJMiCyIiEIiZb2j3lUasuz0XCuDcgNYm4GFSfw38f7TOecYY23hjymmpiV2z7WalOm58ONbgC+Q5/P9JRb63nVp7QKmLBSpOEcX8LL4WZiOFke9/l8pjLyzjdx6iv7/AMXHx36iWuicdkrCoiuCCGUG4NxmOBnadWCIiEIiICIiAiIgIiICIiAiIgJmN7V6KbSzMj3sgLghCGXFhZb+bzTQ1NoUYvEpKjy4xe+WXyuSB/EShrbxdnDVNgqtgAKsGVj4luVsbaZfxvkOMmMZ/k3jMx8OK76NIKiJjRNC1wbcBlcNrw5SNtO2U3Vg6s9SpiBFwqriUrkpOZwnjrOtWuhJw7HWa5y9zXAUnAWPEAaf1HOd02lSMK7E5wOxw4lBtTp4g7Z38T3UA3uR+2suGUVMLEzE3DQbE4NNCoIXCLArY2AtmOE7yFu3bmqqS9JqDA2wuy3PhUllscxc24ZgyYJGH2IiEIiICIiAiIgIiICIiAiZLvHX+j0feddn31tNQ2RUY5fgtqbDU8511ZFrTafZ7Zaju7UgXqWxtiILWBAvY8iZx2T2V2OkUZaKhkChWubjB5TyyuZFq7z2xQSyKANTguBY2zIOWfCRu8df6PR95I8Mz8LymFnS9k9iS2Ggi2FhYnS97a857PszshIJoglbW8bfhJI48CT+5lcN9bUUL4UwA2LYMgeWsNvraggcqgQmwYpkT8s840ycpTl9lNiBuKCg3vqdbAc+QH7S2oUVRVRRhVQFUDgALATMU9/7QxAUIxOQApkkn959qb92lfMqjMjOkdRqL3ztGmS7aqJku8df/b9H3nSpvzaVCllVcQut6drjmM9JdWSW1MTL7RvraaZs6opIvYpw55Gcu8df6PR941ZDWxMl3jr/AEej7x3jr/R6PvGnItrYmWO/Npw48K4b2xe7yvyvec+8df6PR941ZFtbEyXeOv8AR6PvHeOv9Ho+8aci2tiZLvHX+j0feI05FqiWns8l6wY+VPGRe1yoOEfreVc+ET05RcUkTU20m6VDU1FTCffVSzhm0RAW55XYmRN5UqKJZVuSqFXDXzJJIvfOwsLWytK7ZthercqBYWBJYAXOgueOUDY39172wwYsN7/i5WnPjEZfLV+vhb7NhWg9JzhBRamouWNTyj54QBJO1ojBVex91QxKgIIxu9iAL54QBlM/V2J0RXYBVe+G5zNuNuXznmnsrMjOAMKWxG4yvplxjhE+7Xl9qaLZqVFHWpTVbBatTNwSGUWWkM9b5/xnLaqCBDo700SyGpdcdRiXexOg/vM5YRYS6vd2nP8ADQnYKfu38NMsaeJQj38TvYAMTfw8rTht9L3m1U6QzVRTpgjSwAJN/wCLSoagQoYrZWJAa2RI1nuhtLoCEYqDqBlwI/sTEYT82co6aGstGpUFRsDK1R8ZZ/JTpjCqgczYfvOFDYqJVTZT/hO2b6uz2RTnwGsoLT5aNc9nP8NFV2alirAU0IphVQ4z4nbCL65gEkzt2dRFXSmULWsGv5KeY18N2vbWZe0YRJrns5x0td5+CjRpjLzVCL3sWbIH5hQJVwBE6YxUMzNkRE0hERASy3aKfu2uyCoXQAuR4aerMAdTJndhuovpMd2G6i+kzllnjMVax6c987TT90FpYcL1HcqCCQMgoI1HEz1Sr01ovSZlYBaTKA4IZ8bEi/DUX+Qnruw3UX0mO7DdRfSZj6Kq2uU3aRtNSkxW9WkQq008ynzNd3BNwANNNBwnjFR8Sh6SK9YuRiBGCmPCpF8sRvOXdhuovpMd2G6i+kyVh2vKenSk9Eui/wCHY0KmN7KcLeIgmwsCtv6yPsNWiQ2LAotZGOHEMGfiQ+bETr/aSewKuHB71cOf4OZva+pF5y7sN1F9Jj6e05OoFACn46OQQMAy6s12a5uABkNL/pKTeDKarlAAuI4QNLX4S27sN1F9Jjuw3UX0maxnGJu0mbUMS+7sN1F9Jjuw3UX0mb2Y9pShiX3dhuovpMd2G6i+kxsx7KUMS+7sN1F9Jjuw3UX0mNmPZShiX3dhuovpMd2G6i+kxsx7KUMS+7sN1F9JiNmPZTTRETxqREQEREBERAREQEREBERAREQEREBERAREQEREBERAREQEREBERAREQEREBERAREQEREBERAREQEREBERAREQEREBERAREQEREBERAREQEREBERAREQEREBERAREQEREBERAREQEREBERAREQEREBERASn272hp0XKOlW4dVuKRINwDiBF7gA3/prLieVqA3sQbGx8QyPI8jErCooe0+zObKal8sjszi97cSLcRJWz71R6zUQtTEuK7GnZbqQLXOuuuhsZMasoIBZQToCwuf0HHQ/tPWIXtcXte187aXtykPT7ERKhERAREQEREBERAREQEREBERASqr+zmyu71GpXepm7e9fM4Qt7A2XIDS2ktZS1dyVS7Mu17RTuzEKApCh3xYRfhJKw6t7N7IQgNEEU/J428NyTkb31YybQ2GmhUqtiqe7HiOSYgcNibagZ6yuTcjgufiazY6YQ4rHR8QfK3iAJGVsjPWz7lZKiv8RXYBsWBmyOZyPyz/8AcH6X9reIiVkiIgIiICIiB8ZgAScgMyTwHOR/j6PUp/zBG8v8mp/wf/qZhJ18fj5QTLertdM6Op/RgZ9G1J+ZfVMbsW86tEWRgovi8inOwF8xyAnWnvuuujgZ3/y11xYuXMzU+Gfstw1o2pPzL6p8G2UyL41tpfENeUyS76rgWxDh/pLwa44c5wp7fUVMAayYsWGwsWxA3PPMCNMpcNr8Un5l9UDak/MvqmQG+K2uIcf9NeIty5Qu+K4BGPXPyLfL52k0ytw142pPzry83HlPh2umBfGoHPELTJUt9V1Fgw1Jzpqc211E8bRvWrUUqzAhrAjABo2LgOcumS4bH4pLXxLbnij4pPzr6uHOZJd+VwoXGLBcIHu10sBbT5CfG3zXLY8QxWt5ARa4NrEW1Ak05Fw13xVP86+qePj6PUp/zBMp21Xz8euvgX5fLLT+/OV5M1Hh7SZj7N38fR6lP+YImEiXRHaW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098" name="Picture 2" descr="http://www.acupunctureivf.com.au/images/Image/23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1930" y="5798235"/>
            <a:ext cx="793171" cy="1070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D:\inteltek\Slaids\2014\07\31\6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1412776"/>
            <a:ext cx="5094023" cy="3394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5580112" y="1486525"/>
            <a:ext cx="100642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>
                <a:latin typeface="Times New Roman"/>
                <a:ea typeface="Arial Unicode MS"/>
              </a:rPr>
              <a:t>12</a:t>
            </a:r>
            <a:r>
              <a:rPr lang="en-US" sz="1200" dirty="0" smtClean="0">
                <a:latin typeface="Times New Roman"/>
                <a:ea typeface="Arial Unicode MS"/>
              </a:rPr>
              <a:t>–</a:t>
            </a:r>
            <a:r>
              <a:rPr lang="ru-RU" sz="1200" dirty="0" smtClean="0">
                <a:latin typeface="Times New Roman"/>
                <a:ea typeface="Arial Unicode MS"/>
              </a:rPr>
              <a:t>15 </a:t>
            </a:r>
            <a:r>
              <a:rPr lang="ru-RU" sz="1200" dirty="0" err="1">
                <a:latin typeface="Times New Roman"/>
                <a:ea typeface="Arial Unicode MS"/>
              </a:rPr>
              <a:t>нед</a:t>
            </a:r>
            <a:r>
              <a:rPr lang="ru-RU" sz="1200" dirty="0" smtClean="0">
                <a:latin typeface="Times New Roman"/>
                <a:ea typeface="Arial Unicode MS"/>
              </a:rPr>
              <a:t>.</a:t>
            </a:r>
            <a:r>
              <a:rPr lang="en-US" sz="1200" dirty="0" smtClean="0">
                <a:latin typeface="Times New Roman"/>
                <a:ea typeface="Arial Unicode MS"/>
              </a:rPr>
              <a:t/>
            </a:r>
            <a:br>
              <a:rPr lang="en-US" sz="1200" dirty="0" smtClean="0">
                <a:latin typeface="Times New Roman"/>
                <a:ea typeface="Arial Unicode MS"/>
              </a:rPr>
            </a:br>
            <a:r>
              <a:rPr lang="en-US" sz="1200" dirty="0" smtClean="0">
                <a:latin typeface="Times New Roman"/>
                <a:ea typeface="Arial Unicode MS"/>
              </a:rPr>
              <a:t>30–33</a:t>
            </a:r>
            <a:r>
              <a:rPr lang="ru-RU" sz="1200" dirty="0" smtClean="0">
                <a:latin typeface="Times New Roman"/>
                <a:ea typeface="Arial Unicode MS"/>
              </a:rPr>
              <a:t> </a:t>
            </a:r>
            <a:r>
              <a:rPr lang="ru-RU" sz="1200" dirty="0" err="1">
                <a:latin typeface="Times New Roman"/>
                <a:ea typeface="Arial Unicode MS"/>
              </a:rPr>
              <a:t>нед</a:t>
            </a:r>
            <a:r>
              <a:rPr lang="ru-RU" sz="1200" dirty="0">
                <a:latin typeface="Times New Roman"/>
                <a:ea typeface="Arial Unicode MS"/>
              </a:rPr>
              <a:t>.</a:t>
            </a:r>
            <a:endParaRPr lang="ru-RU" sz="1200" dirty="0"/>
          </a:p>
          <a:p>
            <a:r>
              <a:rPr lang="ru-RU" sz="1200" dirty="0">
                <a:latin typeface="Times New Roman"/>
                <a:ea typeface="Arial Unicode MS"/>
              </a:rPr>
              <a:t>После родов</a:t>
            </a:r>
            <a:endParaRPr lang="ru-RU" sz="1200" dirty="0"/>
          </a:p>
        </p:txBody>
      </p:sp>
      <p:sp>
        <p:nvSpPr>
          <p:cNvPr id="13" name="Прямоугольник 12"/>
          <p:cNvSpPr/>
          <p:nvPr/>
        </p:nvSpPr>
        <p:spPr>
          <a:xfrm rot="16200000">
            <a:off x="923932" y="2726937"/>
            <a:ext cx="109241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latin typeface="Times New Roman"/>
                <a:ea typeface="Arial Unicode MS"/>
              </a:rPr>
              <a:t>концентрация</a:t>
            </a:r>
            <a:endParaRPr lang="ru-RU" sz="12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3923928" y="4736177"/>
            <a:ext cx="100380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>
                <a:latin typeface="Times New Roman"/>
                <a:ea typeface="Arial Unicode MS"/>
              </a:rPr>
              <a:t>Время</a:t>
            </a:r>
            <a:r>
              <a:rPr lang="en-US" sz="1200" dirty="0" smtClean="0">
                <a:latin typeface="Times New Roman"/>
                <a:ea typeface="Arial Unicode MS"/>
              </a:rPr>
              <a:t> </a:t>
            </a:r>
            <a:r>
              <a:rPr lang="ru-RU" sz="1200" dirty="0" smtClean="0">
                <a:latin typeface="Times New Roman"/>
                <a:ea typeface="Arial Unicode MS"/>
              </a:rPr>
              <a:t>(</a:t>
            </a:r>
            <a:r>
              <a:rPr lang="ru-RU" sz="1200" dirty="0">
                <a:latin typeface="Times New Roman"/>
                <a:ea typeface="Arial Unicode MS"/>
              </a:rPr>
              <a:t>мин)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244163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89687" y="382588"/>
            <a:ext cx="8207375" cy="765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Низкомолекулярный гепарин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89687" y="1628775"/>
            <a:ext cx="8207375" cy="3120741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b="1" dirty="0">
                <a:solidFill>
                  <a:srgbClr val="C00000"/>
                </a:solidFill>
              </a:rPr>
              <a:t>В отличие от низкомолекулярных лекарственных веществ, точно скопировать биологический препарат невозможно, что связано со сложностью его строения и процесса производства, поэтому в Европе воспроизведенные биологические лекарственные средства называют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не </a:t>
            </a:r>
            <a:r>
              <a:rPr lang="ru-RU" altLang="zh-CN" sz="2200" b="1" dirty="0" err="1">
                <a:solidFill>
                  <a:srgbClr val="C00000"/>
                </a:solidFill>
              </a:rPr>
              <a:t>дженериками</a:t>
            </a:r>
            <a:r>
              <a:rPr lang="ru-RU" altLang="zh-CN" sz="2200" b="1" dirty="0">
                <a:solidFill>
                  <a:srgbClr val="C00000"/>
                </a:solidFill>
              </a:rPr>
              <a:t>, а </a:t>
            </a:r>
            <a:r>
              <a:rPr lang="ru-RU" altLang="zh-CN" sz="2200" b="1" dirty="0" err="1">
                <a:solidFill>
                  <a:srgbClr val="C00000"/>
                </a:solidFill>
              </a:rPr>
              <a:t>биоаналогами</a:t>
            </a:r>
            <a:r>
              <a:rPr lang="ru-RU" altLang="zh-CN" sz="2200" b="1" dirty="0">
                <a:solidFill>
                  <a:srgbClr val="C00000"/>
                </a:solidFill>
              </a:rPr>
              <a:t> (</a:t>
            </a:r>
            <a:r>
              <a:rPr lang="ru-RU" altLang="zh-CN" sz="2200" b="1" dirty="0" err="1">
                <a:solidFill>
                  <a:srgbClr val="C00000"/>
                </a:solidFill>
              </a:rPr>
              <a:t>biosimilar</a:t>
            </a:r>
            <a:r>
              <a:rPr lang="ru-RU" altLang="zh-CN" sz="2200" b="1" dirty="0">
                <a:solidFill>
                  <a:srgbClr val="C00000"/>
                </a:solidFill>
              </a:rPr>
              <a:t> </a:t>
            </a:r>
            <a:r>
              <a:rPr lang="en-US" altLang="zh-CN" sz="2200" b="1" dirty="0" smtClean="0">
                <a:solidFill>
                  <a:srgbClr val="C00000"/>
                </a:solidFill>
              </a:rPr>
              <a:t>d</a:t>
            </a:r>
            <a:r>
              <a:rPr lang="ru-RU" altLang="zh-CN" sz="2200" b="1" dirty="0" err="1" smtClean="0">
                <a:solidFill>
                  <a:srgbClr val="C00000"/>
                </a:solidFill>
              </a:rPr>
              <a:t>rugs</a:t>
            </a:r>
            <a:r>
              <a:rPr lang="ru-RU" altLang="zh-CN" sz="2200" b="1" dirty="0">
                <a:solidFill>
                  <a:srgbClr val="C00000"/>
                </a:solidFill>
              </a:rPr>
              <a:t>,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в </a:t>
            </a:r>
            <a:r>
              <a:rPr lang="ru-RU" altLang="zh-CN" sz="2200" b="1" dirty="0">
                <a:solidFill>
                  <a:srgbClr val="C00000"/>
                </a:solidFill>
              </a:rPr>
              <a:t>США –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> </a:t>
            </a:r>
            <a:r>
              <a:rPr lang="ru-RU" altLang="zh-CN" sz="2200" b="1" dirty="0" err="1">
                <a:solidFill>
                  <a:srgbClr val="C00000"/>
                </a:solidFill>
              </a:rPr>
              <a:t>follow-on</a:t>
            </a:r>
            <a:r>
              <a:rPr lang="ru-RU" altLang="zh-CN" sz="2200" b="1" dirty="0">
                <a:solidFill>
                  <a:srgbClr val="C00000"/>
                </a:solidFill>
              </a:rPr>
              <a:t> </a:t>
            </a:r>
            <a:r>
              <a:rPr lang="ru-RU" altLang="zh-CN" sz="2200" b="1" dirty="0" err="1">
                <a:solidFill>
                  <a:srgbClr val="C00000"/>
                </a:solidFill>
              </a:rPr>
              <a:t>biological</a:t>
            </a:r>
            <a:r>
              <a:rPr lang="ru-RU" altLang="zh-CN" sz="2200" b="1" dirty="0">
                <a:solidFill>
                  <a:srgbClr val="C00000"/>
                </a:solidFill>
              </a:rPr>
              <a:t> </a:t>
            </a:r>
            <a:r>
              <a:rPr lang="ru-RU" altLang="zh-CN" sz="2200" b="1" dirty="0" err="1">
                <a:solidFill>
                  <a:srgbClr val="C00000"/>
                </a:solidFill>
              </a:rPr>
              <a:t>products</a:t>
            </a:r>
            <a:r>
              <a:rPr lang="ru-RU" altLang="zh-CN" sz="2200" b="1" dirty="0">
                <a:solidFill>
                  <a:srgbClr val="C00000"/>
                </a:solidFill>
              </a:rPr>
              <a:t>).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Этот </a:t>
            </a:r>
            <a:r>
              <a:rPr lang="ru-RU" altLang="zh-CN" sz="2200" b="1" dirty="0">
                <a:solidFill>
                  <a:srgbClr val="C00000"/>
                </a:solidFill>
              </a:rPr>
              <a:t>термин предполагает, что воспроизведенный препарат </a:t>
            </a:r>
            <a:r>
              <a:rPr lang="ru-RU" altLang="zh-CN" sz="2200" b="1" dirty="0"/>
              <a:t>похож на оригинальный</a:t>
            </a:r>
            <a:r>
              <a:rPr lang="ru-RU" altLang="zh-CN" sz="2200" b="1" dirty="0">
                <a:solidFill>
                  <a:srgbClr val="C00000"/>
                </a:solidFill>
              </a:rPr>
              <a:t>, но не является его точной копией.</a:t>
            </a:r>
            <a:endParaRPr lang="ru-RU" altLang="zh-CN" sz="22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09244" y="6237312"/>
            <a:ext cx="8353246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663300"/>
                </a:solidFill>
              </a:rPr>
              <a:t>Биоаналоги. низкомолекулярных гепаринов: сходство в обмен </a:t>
            </a:r>
            <a:r>
              <a:rPr lang="ru-RU" sz="1600" i="1" dirty="0" smtClean="0">
                <a:solidFill>
                  <a:srgbClr val="663300"/>
                </a:solidFill>
              </a:rPr>
              <a:t>на эффективность</a:t>
            </a:r>
            <a:r>
              <a:rPr lang="ru-RU" sz="1600" i="1" dirty="0">
                <a:solidFill>
                  <a:srgbClr val="663300"/>
                </a:solidFill>
              </a:rPr>
              <a:t>?</a:t>
            </a:r>
          </a:p>
          <a:p>
            <a:pPr algn="r"/>
            <a:r>
              <a:rPr lang="ru-RU" sz="1600" i="1" dirty="0">
                <a:solidFill>
                  <a:srgbClr val="663300"/>
                </a:solidFill>
              </a:rPr>
              <a:t>От редакции. Клиническая фармакология и терапия, 2012,21(3)</a:t>
            </a:r>
          </a:p>
        </p:txBody>
      </p:sp>
      <p:pic>
        <p:nvPicPr>
          <p:cNvPr id="6" name="Изображение 5" descr="Снимок экрана 2015-01-06 в 0.29.16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8196" y="0"/>
            <a:ext cx="775802" cy="765175"/>
          </a:xfrm>
          <a:prstGeom prst="rect">
            <a:avLst/>
          </a:prstGeom>
        </p:spPr>
      </p:pic>
      <p:pic>
        <p:nvPicPr>
          <p:cNvPr id="7" name="Изображение 6" descr="Снимок экрана 2015-01-06 в 0.29.3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6650" y="4991002"/>
            <a:ext cx="5107349" cy="1101823"/>
          </a:xfrm>
          <a:prstGeom prst="rect">
            <a:avLst/>
          </a:prstGeom>
        </p:spPr>
      </p:pic>
      <p:pic>
        <p:nvPicPr>
          <p:cNvPr id="8" name="Изображение 7" descr="Снимок экрана 2015-01-06 в 0.30.28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2954" y="4991002"/>
            <a:ext cx="843696" cy="1101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32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title"/>
          </p:nvPr>
        </p:nvSpPr>
        <p:spPr>
          <a:xfrm>
            <a:off x="684213" y="188913"/>
            <a:ext cx="7940675" cy="576262"/>
          </a:xfrm>
        </p:spPr>
        <p:txBody>
          <a:bodyPr/>
          <a:lstStyle/>
          <a:p>
            <a:r>
              <a:rPr lang="ru-RU" sz="2200" b="1" smtClean="0">
                <a:solidFill>
                  <a:srgbClr val="444492"/>
                </a:solidFill>
              </a:rPr>
              <a:t>Биологические препараты и биоаналоги</a:t>
            </a:r>
            <a:r>
              <a:rPr lang="en-US" sz="2200" b="1" smtClean="0"/>
              <a:t> </a:t>
            </a:r>
            <a:br>
              <a:rPr lang="en-US" sz="2200" b="1" smtClean="0"/>
            </a:br>
            <a:r>
              <a:rPr lang="ru-RU" sz="2200" b="1" smtClean="0">
                <a:solidFill>
                  <a:srgbClr val="ACB317"/>
                </a:solidFill>
              </a:rPr>
              <a:t>Сложность строения биологических препаратов</a:t>
            </a:r>
            <a:r>
              <a:rPr lang="en-US" sz="2200" b="1" smtClean="0">
                <a:solidFill>
                  <a:srgbClr val="ACB317"/>
                </a:solidFill>
              </a:rPr>
              <a:t> - IV</a:t>
            </a:r>
            <a:endParaRPr lang="ru-RU" sz="2200" b="1" smtClean="0">
              <a:solidFill>
                <a:srgbClr val="ACB317"/>
              </a:solidFill>
            </a:endParaRPr>
          </a:p>
        </p:txBody>
      </p:sp>
      <p:sp>
        <p:nvSpPr>
          <p:cNvPr id="27651" name="Rectangle 3"/>
          <p:cNvSpPr>
            <a:spLocks noChangeArrowheads="1"/>
          </p:cNvSpPr>
          <p:nvPr/>
        </p:nvSpPr>
        <p:spPr bwMode="auto">
          <a:xfrm>
            <a:off x="5508625" y="1052513"/>
            <a:ext cx="3240088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61950" indent="-361950" eaLnBrk="0" hangingPunct="0">
              <a:lnSpc>
                <a:spcPct val="122000"/>
              </a:lnSpc>
              <a:spcAft>
                <a:spcPct val="10000"/>
              </a:spcAft>
              <a:buClr>
                <a:schemeClr val="tx1"/>
              </a:buClr>
              <a:buSzPct val="120000"/>
              <a:buFont typeface="Wingdings" pitchFamily="2" charset="2"/>
              <a:buChar char="§"/>
            </a:pPr>
            <a:r>
              <a:rPr lang="ru-RU" sz="1600" b="1">
                <a:solidFill>
                  <a:srgbClr val="10109C"/>
                </a:solidFill>
              </a:rPr>
              <a:t>ЕВРОПЕЙСКАЯ ФАРМАКОПЕЯ</a:t>
            </a:r>
            <a:endParaRPr lang="en-GB" sz="1600">
              <a:solidFill>
                <a:srgbClr val="000000"/>
              </a:solidFill>
            </a:endParaRPr>
          </a:p>
        </p:txBody>
      </p:sp>
      <p:pic>
        <p:nvPicPr>
          <p:cNvPr id="27652" name="Picture 4" descr="1097E"/>
          <p:cNvPicPr>
            <a:picLocks noChangeAspect="1" noChangeArrowheads="1"/>
          </p:cNvPicPr>
          <p:nvPr/>
        </p:nvPicPr>
        <p:blipFill>
          <a:blip r:embed="rId3" cstate="print"/>
          <a:srcRect b="28566"/>
          <a:stretch>
            <a:fillRect/>
          </a:stretch>
        </p:blipFill>
        <p:spPr bwMode="auto">
          <a:xfrm>
            <a:off x="539750" y="908050"/>
            <a:ext cx="4991100" cy="504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653" name="Rectangle 5"/>
          <p:cNvSpPr>
            <a:spLocks noChangeArrowheads="1"/>
          </p:cNvSpPr>
          <p:nvPr/>
        </p:nvSpPr>
        <p:spPr bwMode="auto">
          <a:xfrm>
            <a:off x="3059113" y="5300663"/>
            <a:ext cx="2017712" cy="28892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  <a:headEnd type="none" w="sm" len="sm"/>
            <a:tailEnd type="none" w="sm" len="sm"/>
          </a:ln>
          <a:effectLst/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27654" name="AutoShape 6"/>
          <p:cNvSpPr>
            <a:spLocks/>
          </p:cNvSpPr>
          <p:nvPr/>
        </p:nvSpPr>
        <p:spPr bwMode="auto">
          <a:xfrm>
            <a:off x="5867400" y="3716338"/>
            <a:ext cx="3024188" cy="1368425"/>
          </a:xfrm>
          <a:prstGeom prst="borderCallout1">
            <a:avLst>
              <a:gd name="adj1" fmla="val -838"/>
              <a:gd name="adj2" fmla="val 0"/>
              <a:gd name="adj3" fmla="val 116065"/>
              <a:gd name="adj4" fmla="val -26190"/>
            </a:avLst>
          </a:prstGeom>
          <a:solidFill>
            <a:schemeClr val="bg1"/>
          </a:solidFill>
          <a:ln w="2857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/>
          <a:lstStyle/>
          <a:p>
            <a:r>
              <a:rPr lang="ru-RU" sz="1600" b="1">
                <a:solidFill>
                  <a:srgbClr val="10109C"/>
                </a:solidFill>
              </a:rPr>
              <a:t>Эноксапарин образован сложным набором олигосахаридов, некоторые из которых еще до конца не определены.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106083" y="6309320"/>
            <a:ext cx="8964488" cy="432048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8" name="Straight Connector 7"/>
          <p:cNvCxnSpPr/>
          <p:nvPr/>
        </p:nvCxnSpPr>
        <p:spPr>
          <a:xfrm>
            <a:off x="755650" y="908050"/>
            <a:ext cx="7416800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</p:spTree>
  </p:cSld>
  <p:clrMapOvr>
    <a:masterClrMapping/>
  </p:clrMapOvr>
  <p:transition advTm="4656"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89687" y="382588"/>
            <a:ext cx="8207375" cy="765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Низкомолекулярный гепарин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89687" y="1628775"/>
            <a:ext cx="8207375" cy="3120741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b="1" dirty="0">
                <a:solidFill>
                  <a:srgbClr val="C00000"/>
                </a:solidFill>
              </a:rPr>
              <a:t>...изучение только фармакокинетических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и </a:t>
            </a:r>
            <a:r>
              <a:rPr lang="ru-RU" altLang="zh-CN" sz="2200" b="1" dirty="0">
                <a:solidFill>
                  <a:srgbClr val="C00000"/>
                </a:solidFill>
              </a:rPr>
              <a:t>фармакодинамических параметров, совпадающих единственное биологическое свойство НМГ,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такое </a:t>
            </a:r>
            <a:r>
              <a:rPr lang="ru-RU" altLang="zh-CN" sz="2200" b="1" dirty="0">
                <a:solidFill>
                  <a:srgbClr val="C00000"/>
                </a:solidFill>
              </a:rPr>
              <a:t>как анти-</a:t>
            </a:r>
            <a:r>
              <a:rPr lang="ru-RU" altLang="zh-CN" sz="2200" b="1" dirty="0" err="1">
                <a:solidFill>
                  <a:srgbClr val="C00000"/>
                </a:solidFill>
              </a:rPr>
              <a:t>Xа</a:t>
            </a:r>
            <a:r>
              <a:rPr lang="ru-RU" altLang="zh-CN" sz="2200" b="1" dirty="0">
                <a:solidFill>
                  <a:srgbClr val="C00000"/>
                </a:solidFill>
              </a:rPr>
              <a:t> активность, </a:t>
            </a:r>
            <a:r>
              <a:rPr lang="ru-RU" altLang="zh-CN" sz="2200" b="1" dirty="0">
                <a:solidFill>
                  <a:srgbClr val="000000"/>
                </a:solidFill>
              </a:rPr>
              <a:t>недостаточно</a:t>
            </a:r>
            <a:r>
              <a:rPr lang="ru-RU" altLang="zh-CN" sz="2200" b="1" dirty="0">
                <a:solidFill>
                  <a:srgbClr val="C00000"/>
                </a:solidFill>
              </a:rPr>
              <a:t>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для </a:t>
            </a:r>
            <a:r>
              <a:rPr lang="ru-RU" altLang="zh-CN" sz="2200" b="1" dirty="0">
                <a:solidFill>
                  <a:srgbClr val="C00000"/>
                </a:solidFill>
              </a:rPr>
              <a:t>подтверждения терапевтической эквивалентности оригинального препарата и его биоаналога.</a:t>
            </a:r>
            <a:endParaRPr lang="ru-RU" altLang="zh-CN" sz="22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09244" y="6237312"/>
            <a:ext cx="8353246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663300"/>
                </a:solidFill>
              </a:rPr>
              <a:t>Биоаналоги. низкомолекулярных гепаринов: сходство в обмен </a:t>
            </a:r>
            <a:r>
              <a:rPr lang="ru-RU" sz="1600" i="1" dirty="0" smtClean="0">
                <a:solidFill>
                  <a:srgbClr val="663300"/>
                </a:solidFill>
              </a:rPr>
              <a:t>на эффективность</a:t>
            </a:r>
            <a:r>
              <a:rPr lang="ru-RU" sz="1600" i="1" dirty="0">
                <a:solidFill>
                  <a:srgbClr val="663300"/>
                </a:solidFill>
              </a:rPr>
              <a:t>?</a:t>
            </a:r>
          </a:p>
          <a:p>
            <a:pPr algn="r"/>
            <a:r>
              <a:rPr lang="ru-RU" sz="1600" i="1" dirty="0">
                <a:solidFill>
                  <a:srgbClr val="663300"/>
                </a:solidFill>
              </a:rPr>
              <a:t>От редакции. Клиническая фармакология и терапия, 2012,21(3)</a:t>
            </a:r>
          </a:p>
        </p:txBody>
      </p:sp>
      <p:pic>
        <p:nvPicPr>
          <p:cNvPr id="6" name="Изображение 5" descr="Снимок экрана 2015-01-06 в 0.29.16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8196" y="0"/>
            <a:ext cx="775802" cy="765175"/>
          </a:xfrm>
          <a:prstGeom prst="rect">
            <a:avLst/>
          </a:prstGeom>
        </p:spPr>
      </p:pic>
      <p:pic>
        <p:nvPicPr>
          <p:cNvPr id="7" name="Изображение 6" descr="Снимок экрана 2015-01-06 в 0.29.3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6650" y="4991002"/>
            <a:ext cx="5107349" cy="1101823"/>
          </a:xfrm>
          <a:prstGeom prst="rect">
            <a:avLst/>
          </a:prstGeom>
        </p:spPr>
      </p:pic>
      <p:pic>
        <p:nvPicPr>
          <p:cNvPr id="8" name="Изображение 7" descr="Снимок экрана 2015-01-06 в 0.30.28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2954" y="4991002"/>
            <a:ext cx="843696" cy="1101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58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74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500" y="1981200"/>
          <a:ext cx="8358188" cy="47609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Chart" r:id="rId6" imgW="6591300" imgH="3819449" progId="Excel.Sheet.8">
                  <p:embed/>
                </p:oleObj>
              </mc:Choice>
              <mc:Fallback>
                <p:oleObj name="Chart" r:id="rId6" imgW="6591300" imgH="3819449" progId="Excel.Sheet.8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500" y="1981200"/>
                        <a:ext cx="8358188" cy="47609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ounded Rectangle 8"/>
          <p:cNvSpPr/>
          <p:nvPr/>
        </p:nvSpPr>
        <p:spPr>
          <a:xfrm>
            <a:off x="106083" y="6381328"/>
            <a:ext cx="8964488" cy="432048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41338" y="1285875"/>
            <a:ext cx="8351837" cy="55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ctr"/>
          <a:lstStyle/>
          <a:p>
            <a:pPr marL="285750" indent="-285750">
              <a:lnSpc>
                <a:spcPct val="90000"/>
              </a:lnSpc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ru-RU" sz="1600" b="1" dirty="0">
                <a:solidFill>
                  <a:srgbClr val="FF0000"/>
                </a:solidFill>
              </a:rPr>
              <a:t>Препарат и его копии отличаются по</a:t>
            </a:r>
            <a:r>
              <a:rPr lang="en-US" sz="1600" b="1" dirty="0">
                <a:solidFill>
                  <a:srgbClr val="FF0000"/>
                </a:solidFill>
              </a:rPr>
              <a:t> </a:t>
            </a:r>
            <a:r>
              <a:rPr lang="ru-RU" sz="1600" b="1" dirty="0">
                <a:solidFill>
                  <a:srgbClr val="FF0000"/>
                </a:solidFill>
              </a:rPr>
              <a:t>распределению молекулярной массы. </a:t>
            </a:r>
          </a:p>
          <a:p>
            <a:pPr marL="285750" indent="-285750">
              <a:lnSpc>
                <a:spcPct val="90000"/>
              </a:lnSpc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endParaRPr lang="ru-RU" sz="1600" b="1" dirty="0">
              <a:solidFill>
                <a:srgbClr val="FF0000"/>
              </a:solidFill>
            </a:endParaRPr>
          </a:p>
          <a:p>
            <a:pPr algn="just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ru-RU" sz="1400" dirty="0">
                <a:solidFill>
                  <a:srgbClr val="000000"/>
                </a:solidFill>
              </a:rPr>
              <a:t>Незначительные изменения на любой из стадий производства ведут к значительным изменениям в структуре молекулы действующего вещества, а значит и </a:t>
            </a:r>
            <a:r>
              <a:rPr lang="ru-RU" sz="1400" b="1" dirty="0">
                <a:solidFill>
                  <a:srgbClr val="FF6600"/>
                </a:solidFill>
              </a:rPr>
              <a:t>к изменению его клинических свойств</a:t>
            </a:r>
            <a:r>
              <a:rPr lang="ru-RU" sz="1400" dirty="0">
                <a:solidFill>
                  <a:srgbClr val="FF6600"/>
                </a:solidFill>
              </a:rPr>
              <a:t>. </a:t>
            </a:r>
          </a:p>
        </p:txBody>
      </p:sp>
      <p:sp>
        <p:nvSpPr>
          <p:cNvPr id="31751" name="Rectangle 2"/>
          <p:cNvSpPr txBox="1">
            <a:spLocks noChangeArrowheads="1"/>
          </p:cNvSpPr>
          <p:nvPr/>
        </p:nvSpPr>
        <p:spPr bwMode="auto">
          <a:xfrm>
            <a:off x="663575" y="260350"/>
            <a:ext cx="7940675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105000"/>
              </a:lnSpc>
            </a:pPr>
            <a:r>
              <a:rPr lang="ru-RU" sz="2200" b="1">
                <a:solidFill>
                  <a:srgbClr val="444492"/>
                </a:solidFill>
              </a:rPr>
              <a:t>Биологические препараты и биоаналоги</a:t>
            </a:r>
            <a:r>
              <a:rPr lang="en-US" sz="2200" b="1"/>
              <a:t> </a:t>
            </a:r>
            <a:br>
              <a:rPr lang="en-US" sz="2200" b="1"/>
            </a:br>
            <a:r>
              <a:rPr lang="ru-RU" sz="2200" b="1">
                <a:solidFill>
                  <a:srgbClr val="ACB317"/>
                </a:solidFill>
              </a:rPr>
              <a:t>Качественная дифференциация - </a:t>
            </a:r>
            <a:r>
              <a:rPr lang="en-US" sz="2200" b="1">
                <a:solidFill>
                  <a:srgbClr val="ACB317"/>
                </a:solidFill>
              </a:rPr>
              <a:t>I</a:t>
            </a:r>
            <a:endParaRPr lang="ru-RU" sz="2200" b="1">
              <a:solidFill>
                <a:srgbClr val="ACB317"/>
              </a:solidFill>
            </a:endParaRPr>
          </a:p>
        </p:txBody>
      </p:sp>
      <p:sp>
        <p:nvSpPr>
          <p:cNvPr id="31752" name="Oval 10"/>
          <p:cNvSpPr>
            <a:spLocks noChangeArrowheads="1"/>
          </p:cNvSpPr>
          <p:nvPr/>
        </p:nvSpPr>
        <p:spPr bwMode="auto">
          <a:xfrm>
            <a:off x="3563938" y="5445125"/>
            <a:ext cx="649287" cy="936625"/>
          </a:xfrm>
          <a:prstGeom prst="ellipse">
            <a:avLst/>
          </a:prstGeom>
          <a:noFill/>
          <a:ln w="25400" algn="ctr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31753" name="Rectangle 1"/>
          <p:cNvSpPr>
            <a:spLocks noChangeArrowheads="1"/>
          </p:cNvSpPr>
          <p:nvPr/>
        </p:nvSpPr>
        <p:spPr bwMode="auto">
          <a:xfrm>
            <a:off x="104775" y="6597650"/>
            <a:ext cx="84994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FR" sz="800"/>
              <a:t>W.P. Jeske, J. Walenga.  Dependent Variations in the Anticoagulant &amp; Protamine Sulfate Neutralization Profiles of Generic Copies of Enoxaparin. Poster. ASH Dec 2006 </a:t>
            </a:r>
            <a:endParaRPr lang="ru-RU" sz="800"/>
          </a:p>
        </p:txBody>
      </p:sp>
      <p:cxnSp>
        <p:nvCxnSpPr>
          <p:cNvPr id="8" name="Straight Connector 7"/>
          <p:cNvCxnSpPr/>
          <p:nvPr/>
        </p:nvCxnSpPr>
        <p:spPr>
          <a:xfrm>
            <a:off x="755650" y="908050"/>
            <a:ext cx="5761038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1755" name="TextBox 2"/>
          <p:cNvSpPr txBox="1">
            <a:spLocks noChangeArrowheads="1"/>
          </p:cNvSpPr>
          <p:nvPr/>
        </p:nvSpPr>
        <p:spPr bwMode="auto">
          <a:xfrm rot="-5400000">
            <a:off x="3498057" y="5779293"/>
            <a:ext cx="781050" cy="2778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>
                <a:solidFill>
                  <a:srgbClr val="000000"/>
                </a:solidFill>
              </a:rPr>
              <a:t>Клексан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89687" y="382588"/>
            <a:ext cx="8207375" cy="765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Низкомолекулярный гепарин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89687" y="1628775"/>
            <a:ext cx="8207375" cy="3224617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b="1" dirty="0">
                <a:solidFill>
                  <a:srgbClr val="C00000"/>
                </a:solidFill>
              </a:rPr>
              <a:t>Решение FDA о регистрации биоаналога </a:t>
            </a:r>
            <a:r>
              <a:rPr lang="ru-RU" altLang="zh-CN" sz="2200" b="1" dirty="0" err="1">
                <a:solidFill>
                  <a:srgbClr val="C00000"/>
                </a:solidFill>
              </a:rPr>
              <a:t>эноксапарина</a:t>
            </a:r>
            <a:r>
              <a:rPr lang="ru-RU" altLang="zh-CN" sz="2200" b="1" dirty="0">
                <a:solidFill>
                  <a:srgbClr val="C00000"/>
                </a:solidFill>
              </a:rPr>
              <a:t>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на </a:t>
            </a:r>
            <a:r>
              <a:rPr lang="ru-RU" altLang="zh-CN" sz="2200" b="1" dirty="0">
                <a:solidFill>
                  <a:srgbClr val="C00000"/>
                </a:solidFill>
              </a:rPr>
              <a:t>основании упрощенной процедуры отличается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от </a:t>
            </a:r>
            <a:r>
              <a:rPr lang="ru-RU" altLang="zh-CN" sz="2200" b="1" dirty="0">
                <a:solidFill>
                  <a:srgbClr val="C00000"/>
                </a:solidFill>
              </a:rPr>
              <a:t>подходов Европейского агентства по лекарствам и ВОЗ.</a:t>
            </a:r>
          </a:p>
          <a:p>
            <a:r>
              <a:rPr lang="ru-RU" altLang="zh-CN" sz="2200" b="1" dirty="0">
                <a:solidFill>
                  <a:srgbClr val="C00000"/>
                </a:solidFill>
              </a:rPr>
              <a:t>По мнению Европейского агентства по лекарствам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и </a:t>
            </a:r>
            <a:r>
              <a:rPr lang="ru-RU" altLang="zh-CN" sz="2200" b="1" dirty="0">
                <a:solidFill>
                  <a:srgbClr val="C00000"/>
                </a:solidFill>
              </a:rPr>
              <a:t>Всемирной организации здравоохранения НМГ представляют собой слишком сложные биологические молекулы, поэтому их копии нельзя регистрировать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на </a:t>
            </a:r>
            <a:r>
              <a:rPr lang="ru-RU" altLang="zh-CN" sz="2200" b="1" dirty="0">
                <a:solidFill>
                  <a:srgbClr val="C00000"/>
                </a:solidFill>
              </a:rPr>
              <a:t>основании упрошенной процедуры, которая может использоваться в случае небольших синтетических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>молекул</a:t>
            </a:r>
            <a:endParaRPr lang="ru-RU" altLang="zh-CN" sz="22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09244" y="6237312"/>
            <a:ext cx="8353246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663300"/>
                </a:solidFill>
              </a:rPr>
              <a:t>Биоаналоги. низкомолекулярных гепаринов: сходство в обмен </a:t>
            </a:r>
            <a:r>
              <a:rPr lang="ru-RU" sz="1600" i="1" dirty="0" smtClean="0">
                <a:solidFill>
                  <a:srgbClr val="663300"/>
                </a:solidFill>
              </a:rPr>
              <a:t>на эффективность</a:t>
            </a:r>
            <a:r>
              <a:rPr lang="ru-RU" sz="1600" i="1" dirty="0">
                <a:solidFill>
                  <a:srgbClr val="663300"/>
                </a:solidFill>
              </a:rPr>
              <a:t>?</a:t>
            </a:r>
          </a:p>
          <a:p>
            <a:pPr algn="r"/>
            <a:r>
              <a:rPr lang="ru-RU" sz="1600" i="1" dirty="0">
                <a:solidFill>
                  <a:srgbClr val="663300"/>
                </a:solidFill>
              </a:rPr>
              <a:t>От редакции. Клиническая фармакология и терапия, 2012</a:t>
            </a:r>
            <a:r>
              <a:rPr lang="ru-RU" sz="1600" i="1" dirty="0" smtClean="0">
                <a:solidFill>
                  <a:srgbClr val="663300"/>
                </a:solidFill>
              </a:rPr>
              <a:t>, 21</a:t>
            </a:r>
            <a:r>
              <a:rPr lang="ru-RU" sz="1600" i="1" dirty="0">
                <a:solidFill>
                  <a:srgbClr val="663300"/>
                </a:solidFill>
              </a:rPr>
              <a:t>(3)</a:t>
            </a:r>
          </a:p>
        </p:txBody>
      </p:sp>
      <p:pic>
        <p:nvPicPr>
          <p:cNvPr id="6" name="Изображение 5" descr="Снимок экрана 2015-01-06 в 0.29.16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8196" y="0"/>
            <a:ext cx="775802" cy="765175"/>
          </a:xfrm>
          <a:prstGeom prst="rect">
            <a:avLst/>
          </a:prstGeom>
        </p:spPr>
      </p:pic>
      <p:pic>
        <p:nvPicPr>
          <p:cNvPr id="7" name="Изображение 6" descr="Снимок экрана 2015-01-06 в 0.29.3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6650" y="4991002"/>
            <a:ext cx="5107349" cy="1101823"/>
          </a:xfrm>
          <a:prstGeom prst="rect">
            <a:avLst/>
          </a:prstGeom>
        </p:spPr>
      </p:pic>
      <p:pic>
        <p:nvPicPr>
          <p:cNvPr id="8" name="Изображение 7" descr="Снимок экрана 2015-01-06 в 0.30.28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2954" y="4991002"/>
            <a:ext cx="843696" cy="1101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524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3" y="1"/>
            <a:ext cx="8207375" cy="1431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НМГ в лечении беременных женщин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механическими искусственными клапанами сердца 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68313" y="2276872"/>
            <a:ext cx="8207375" cy="3600399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НМГ эффективны для профилактики тромбоэмболических осложнений у беременных женщин с новым поколением механических искусственных клапанов сердца.</a:t>
            </a:r>
          </a:p>
          <a:p>
            <a:r>
              <a:rPr lang="ru-RU" altLang="zh-CN" sz="2200" dirty="0"/>
              <a:t>Применение НМГ сопряжено с допустимой частотой такого осложнения как кровотечение.</a:t>
            </a:r>
          </a:p>
          <a:p>
            <a:r>
              <a:rPr lang="ru-RU" altLang="zh-CN" sz="2200" dirty="0"/>
              <a:t>Применение НМГ требует очень тщательного наблюдения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и </a:t>
            </a:r>
            <a:r>
              <a:rPr lang="ru-RU" altLang="zh-CN" sz="2200" dirty="0"/>
              <a:t>возможности безотлагательного контроля уровней анти-Ха.</a:t>
            </a:r>
          </a:p>
          <a:p>
            <a:r>
              <a:rPr lang="ru-RU" altLang="zh-CN" sz="2200" dirty="0"/>
              <a:t>Рекомендованные руководствами пиковые уровни </a:t>
            </a:r>
            <a:r>
              <a:rPr lang="ru-RU" altLang="zh-CN" sz="2200" dirty="0" smtClean="0"/>
              <a:t>анти-Ха </a:t>
            </a:r>
            <a:r>
              <a:rPr lang="ru-RU" altLang="zh-CN" sz="2200" dirty="0"/>
              <a:t>часто обеспечивают только </a:t>
            </a:r>
            <a:r>
              <a:rPr lang="ru-RU" altLang="zh-CN" sz="2200" dirty="0" err="1"/>
              <a:t>субтерапевтические</a:t>
            </a:r>
            <a:r>
              <a:rPr lang="ru-RU" altLang="zh-CN" sz="2200" dirty="0"/>
              <a:t> уровни плато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46087" y="1629191"/>
            <a:ext cx="9512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j-lt"/>
              </a:rPr>
              <a:t>Резюме</a:t>
            </a:r>
          </a:p>
        </p:txBody>
      </p:sp>
    </p:spTree>
    <p:extLst>
      <p:ext uri="{BB962C8B-B14F-4D97-AF65-F5344CB8AC3E}">
        <p14:creationId xmlns:p14="http://schemas.microsoft.com/office/powerpoint/2010/main" val="81843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16"/>
          <p:cNvSpPr>
            <a:spLocks noChangeArrowheads="1"/>
          </p:cNvSpPr>
          <p:nvPr/>
        </p:nvSpPr>
        <p:spPr bwMode="auto">
          <a:xfrm>
            <a:off x="446087" y="2924944"/>
            <a:ext cx="8229600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3200" b="1" dirty="0" smtClean="0">
                <a:solidFill>
                  <a:srgbClr val="C00000"/>
                </a:solidFill>
                <a:latin typeface="Times New Roman" pitchFamily="18" charset="0"/>
              </a:rPr>
              <a:t>Спасибо за внимание!</a:t>
            </a:r>
            <a:endParaRPr lang="ru-RU" sz="3200" b="1" dirty="0">
              <a:solidFill>
                <a:srgbClr val="C00000"/>
              </a:solidFill>
              <a:latin typeface="Times New Roman" pitchFamily="18" charset="0"/>
            </a:endParaRPr>
          </a:p>
        </p:txBody>
      </p:sp>
      <p:pic>
        <p:nvPicPr>
          <p:cNvPr id="1027" name="Picture 3" descr="D:\inteltek\Slaids\2014\07\31\pregnanc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16733">
            <a:off x="5237438" y="3551405"/>
            <a:ext cx="2218398" cy="2218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5389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2" y="251217"/>
            <a:ext cx="8207375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Изменения гомеостаза и системы коагуляции во время беременности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57200" y="1628775"/>
            <a:ext cx="8229600" cy="3816449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Нормальная беременность сопровождается изменениями гомеостаза, приводящим к </a:t>
            </a:r>
            <a:r>
              <a:rPr lang="ru-RU" altLang="zh-CN" sz="2200" dirty="0">
                <a:solidFill>
                  <a:srgbClr val="C00000"/>
                </a:solidFill>
              </a:rPr>
              <a:t>состоянию </a:t>
            </a:r>
            <a:r>
              <a:rPr lang="ru-RU" altLang="zh-CN" sz="2200" dirty="0" err="1">
                <a:solidFill>
                  <a:srgbClr val="C00000"/>
                </a:solidFill>
              </a:rPr>
              <a:t>гиперкоагуляции</a:t>
            </a:r>
            <a:r>
              <a:rPr lang="ru-RU" altLang="zh-CN" sz="2200" dirty="0">
                <a:solidFill>
                  <a:srgbClr val="C00000"/>
                </a:solidFill>
              </a:rPr>
              <a:t>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для </a:t>
            </a:r>
            <a:r>
              <a:rPr lang="ru-RU" altLang="zh-CN" sz="2200" dirty="0"/>
              <a:t>предупреждения возможного кровотечения или выкидыша.</a:t>
            </a:r>
          </a:p>
          <a:p>
            <a:r>
              <a:rPr lang="ru-RU" altLang="zh-CN" sz="2200" dirty="0" smtClean="0"/>
              <a:t>Эти </a:t>
            </a:r>
            <a:r>
              <a:rPr lang="ru-RU" altLang="zh-CN" sz="2200" dirty="0"/>
              <a:t>изменения могут длиться </a:t>
            </a:r>
            <a:r>
              <a:rPr lang="ru-RU" altLang="zh-CN" sz="2200" dirty="0">
                <a:solidFill>
                  <a:srgbClr val="C00000"/>
                </a:solidFill>
              </a:rPr>
              <a:t>всю беременность и </a:t>
            </a:r>
            <a:r>
              <a:rPr lang="ru-RU" altLang="zh-CN" sz="2200" dirty="0" smtClean="0">
                <a:solidFill>
                  <a:srgbClr val="C00000"/>
                </a:solidFill>
              </a:rPr>
              <a:t>6–8 </a:t>
            </a:r>
            <a:r>
              <a:rPr lang="ru-RU" altLang="zh-CN" sz="2200" dirty="0">
                <a:solidFill>
                  <a:srgbClr val="C00000"/>
                </a:solidFill>
              </a:rPr>
              <a:t>недель после родов</a:t>
            </a:r>
            <a:r>
              <a:rPr lang="ru-RU" altLang="zh-CN" sz="2200" dirty="0"/>
              <a:t>.</a:t>
            </a:r>
          </a:p>
          <a:p>
            <a:r>
              <a:rPr lang="ru-RU" altLang="zh-CN" sz="2200" dirty="0" smtClean="0"/>
              <a:t>Приводят </a:t>
            </a:r>
            <a:r>
              <a:rPr lang="ru-RU" altLang="zh-CN" sz="2200" dirty="0"/>
              <a:t>к </a:t>
            </a:r>
            <a:r>
              <a:rPr lang="ru-RU" altLang="zh-CN" sz="2200" dirty="0" smtClean="0">
                <a:solidFill>
                  <a:srgbClr val="C00000"/>
                </a:solidFill>
              </a:rPr>
              <a:t>3–4 </a:t>
            </a:r>
            <a:r>
              <a:rPr lang="ru-RU" altLang="zh-CN" sz="2200" dirty="0">
                <a:solidFill>
                  <a:srgbClr val="C00000"/>
                </a:solidFill>
              </a:rPr>
              <a:t>кратному</a:t>
            </a:r>
            <a:r>
              <a:rPr lang="ru-RU" altLang="zh-CN" sz="2200" dirty="0"/>
              <a:t> увеличению артериальной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и 4–5 </a:t>
            </a:r>
            <a:r>
              <a:rPr lang="ru-RU" altLang="zh-CN" sz="2200" dirty="0"/>
              <a:t>кратному увеличению венозной тромбоэмболии.</a:t>
            </a:r>
          </a:p>
          <a:p>
            <a:r>
              <a:rPr lang="ru-RU" altLang="zh-CN" sz="2200" dirty="0" smtClean="0"/>
              <a:t>Беременность </a:t>
            </a:r>
            <a:r>
              <a:rPr lang="ru-RU" altLang="zh-CN" sz="2200" dirty="0"/>
              <a:t>у женщин </a:t>
            </a:r>
            <a:r>
              <a:rPr lang="ru-RU" altLang="zh-CN" sz="2200" dirty="0">
                <a:solidFill>
                  <a:srgbClr val="C00000"/>
                </a:solidFill>
              </a:rPr>
              <a:t>с механическими искусственными клапанами сердца</a:t>
            </a:r>
            <a:r>
              <a:rPr lang="ru-RU" altLang="zh-CN" sz="2200" dirty="0"/>
              <a:t> несет высокий риск тромбоэмболических осложнений и требует эффективной </a:t>
            </a:r>
            <a:r>
              <a:rPr lang="ru-RU" altLang="zh-CN" sz="2200" dirty="0" err="1"/>
              <a:t>антикоагулянтной</a:t>
            </a:r>
            <a:r>
              <a:rPr lang="ru-RU" altLang="zh-CN" sz="2200" dirty="0"/>
              <a:t> терапии.</a:t>
            </a:r>
          </a:p>
        </p:txBody>
      </p:sp>
      <p:pic>
        <p:nvPicPr>
          <p:cNvPr id="4" name="Picture 5" descr="D:\inteltek\Slaids\2014\07\31\cover3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3986" y="793"/>
            <a:ext cx="1510013" cy="1627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614944" y="5635681"/>
            <a:ext cx="1943447" cy="431576"/>
          </a:xfrm>
        </p:spPr>
        <p:txBody>
          <a:bodyPr/>
          <a:lstStyle/>
          <a:p>
            <a:pPr marL="0" indent="0" algn="r">
              <a:buNone/>
            </a:pPr>
            <a:r>
              <a:rPr lang="en-US" sz="2000" i="1" dirty="0" err="1" smtClean="0">
                <a:solidFill>
                  <a:srgbClr val="C00000"/>
                </a:solidFill>
              </a:rPr>
              <a:t>T.Traill</a:t>
            </a:r>
            <a:endParaRPr lang="ru-RU" sz="2000" i="1" dirty="0">
              <a:solidFill>
                <a:srgbClr val="C00000"/>
              </a:solidFill>
            </a:endParaRPr>
          </a:p>
        </p:txBody>
      </p:sp>
      <p:sp>
        <p:nvSpPr>
          <p:cNvPr id="5" name="Rectangle 516"/>
          <p:cNvSpPr>
            <a:spLocks noChangeArrowheads="1"/>
          </p:cNvSpPr>
          <p:nvPr/>
        </p:nvSpPr>
        <p:spPr bwMode="auto">
          <a:xfrm>
            <a:off x="468313" y="292407"/>
            <a:ext cx="8207374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Искусственные клапаны сердца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и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беременность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468313" y="1628800"/>
            <a:ext cx="4103687" cy="18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80000"/>
              </a:lnSpc>
              <a:buNone/>
            </a:pPr>
            <a:r>
              <a:rPr lang="ru-RU" sz="2000" dirty="0"/>
              <a:t>Наличие механического клапана само </a:t>
            </a:r>
            <a:r>
              <a:rPr lang="ru-RU" sz="2000" dirty="0" smtClean="0"/>
              <a:t>по</a:t>
            </a:r>
            <a:r>
              <a:rPr lang="en-US" sz="2000" dirty="0" smtClean="0"/>
              <a:t> </a:t>
            </a:r>
            <a:r>
              <a:rPr lang="ru-RU" sz="2000" dirty="0" smtClean="0"/>
              <a:t>себе противопоказание </a:t>
            </a: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ru-RU" sz="2000" dirty="0" smtClean="0"/>
              <a:t>к </a:t>
            </a:r>
            <a:r>
              <a:rPr lang="ru-RU" sz="2000" dirty="0"/>
              <a:t>беременности</a:t>
            </a:r>
            <a:r>
              <a:rPr lang="ru-RU" sz="2000" dirty="0" smtClean="0"/>
              <a:t>.</a:t>
            </a:r>
            <a:endParaRPr lang="en-US" sz="2000" dirty="0" smtClean="0"/>
          </a:p>
          <a:p>
            <a:pPr marL="0" indent="0">
              <a:lnSpc>
                <a:spcPct val="80000"/>
              </a:lnSpc>
              <a:buNone/>
            </a:pP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2000" dirty="0" smtClean="0"/>
              <a:t>Идеально </a:t>
            </a:r>
            <a:r>
              <a:rPr lang="ru-RU" sz="2000" dirty="0"/>
              <a:t>для пациентки </a:t>
            </a: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ru-RU" sz="2000" dirty="0" smtClean="0"/>
              <a:t>с искусственным</a:t>
            </a:r>
            <a:r>
              <a:rPr lang="en-US" sz="2000" dirty="0" smtClean="0"/>
              <a:t> </a:t>
            </a:r>
            <a:r>
              <a:rPr lang="ru-RU" sz="2000" dirty="0"/>
              <a:t>клапаном </a:t>
            </a: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ru-RU" sz="2000" dirty="0" smtClean="0"/>
              <a:t>не </a:t>
            </a:r>
            <a:r>
              <a:rPr lang="ru-RU" sz="2000" dirty="0"/>
              <a:t>беременеть.</a:t>
            </a:r>
            <a:endParaRPr lang="ru-RU" sz="2000" dirty="0">
              <a:solidFill>
                <a:srgbClr val="C00000"/>
              </a:solidFill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4572000" y="1633412"/>
            <a:ext cx="4103687" cy="18675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80000"/>
              </a:lnSpc>
              <a:buNone/>
            </a:pPr>
            <a:r>
              <a:rPr lang="ru-RU" sz="2000" dirty="0"/>
              <a:t>Наша обычная практика убедить </a:t>
            </a:r>
            <a:r>
              <a:rPr lang="ru-RU" sz="2000" dirty="0" smtClean="0"/>
              <a:t>женщину</a:t>
            </a:r>
            <a:r>
              <a:rPr lang="en-US" sz="2000" dirty="0" smtClean="0"/>
              <a:t> </a:t>
            </a:r>
            <a:r>
              <a:rPr lang="ru-RU" sz="2000" dirty="0"/>
              <a:t>с механическим искусственным клапаном </a:t>
            </a: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ru-RU" sz="2000" dirty="0" smtClean="0"/>
              <a:t>не </a:t>
            </a:r>
            <a:r>
              <a:rPr lang="ru-RU" sz="2000" dirty="0"/>
              <a:t>беременеть</a:t>
            </a:r>
            <a:r>
              <a:rPr lang="ru-RU" sz="2000" dirty="0" smtClean="0"/>
              <a:t>.</a:t>
            </a:r>
            <a:endParaRPr lang="en-US" sz="2000" dirty="0" smtClean="0"/>
          </a:p>
          <a:p>
            <a:pPr marL="0" indent="0">
              <a:lnSpc>
                <a:spcPct val="80000"/>
              </a:lnSpc>
              <a:buNone/>
            </a:pPr>
            <a:r>
              <a:rPr lang="ru-RU" sz="2000" dirty="0"/>
              <a:t>Если же они забеременели, </a:t>
            </a:r>
            <a:r>
              <a:rPr lang="ru-RU" sz="2000" dirty="0" smtClean="0"/>
              <a:t>предлагает</a:t>
            </a:r>
            <a:r>
              <a:rPr lang="ru-RU" sz="2000" dirty="0"/>
              <a:t>ся прервать беременность. </a:t>
            </a:r>
            <a:endParaRPr lang="ru-RU" sz="2000" dirty="0">
              <a:solidFill>
                <a:srgbClr val="C00000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9511" y="5013176"/>
            <a:ext cx="762000" cy="95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6732240" y="5661249"/>
            <a:ext cx="1943447" cy="431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buNone/>
            </a:pPr>
            <a:r>
              <a:rPr lang="en-US" sz="2000" i="1" dirty="0" err="1" smtClean="0">
                <a:solidFill>
                  <a:srgbClr val="C00000"/>
                </a:solidFill>
              </a:rPr>
              <a:t>A.H.James</a:t>
            </a:r>
            <a:endParaRPr lang="ru-RU" sz="2000" i="1" dirty="0">
              <a:solidFill>
                <a:srgbClr val="C00000"/>
              </a:solidFill>
            </a:endParaRPr>
          </a:p>
        </p:txBody>
      </p:sp>
      <p:pic>
        <p:nvPicPr>
          <p:cNvPr id="4104" name="Picture 8" descr="http://www.medicine.virginia.edu/clinical/departments/obgyn/images/AndraJamesMD.png/image_thumb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2156" y="5013176"/>
            <a:ext cx="74414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5" descr="D:\inteltek\Slaids\2014\07\31\cover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3986" y="793"/>
            <a:ext cx="1510013" cy="1627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16"/>
          <p:cNvSpPr>
            <a:spLocks noChangeArrowheads="1"/>
          </p:cNvSpPr>
          <p:nvPr/>
        </p:nvSpPr>
        <p:spPr bwMode="auto">
          <a:xfrm>
            <a:off x="468313" y="104132"/>
            <a:ext cx="8207374" cy="1512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Антикоагулянтная терапия у беременных женщин с механическими искусственными клапанами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ердца</a:t>
            </a:r>
            <a:endParaRPr lang="ru-RU" sz="3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10" name="Rectangle 516"/>
          <p:cNvSpPr>
            <a:spLocks noChangeArrowheads="1"/>
          </p:cNvSpPr>
          <p:nvPr/>
        </p:nvSpPr>
        <p:spPr bwMode="auto">
          <a:xfrm>
            <a:off x="446087" y="2924944"/>
            <a:ext cx="8229600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 err="1" smtClean="0">
                <a:solidFill>
                  <a:srgbClr val="C00000"/>
                </a:solidFill>
                <a:latin typeface="Times New Roman" pitchFamily="18" charset="0"/>
              </a:rPr>
              <a:t>Нефракционированный</a:t>
            </a:r>
            <a:r>
              <a:rPr lang="ru-RU" sz="3200" b="1" dirty="0" smtClean="0">
                <a:solidFill>
                  <a:srgbClr val="C00000"/>
                </a:solidFill>
                <a:latin typeface="Times New Roman" pitchFamily="18" charset="0"/>
              </a:rPr>
              <a:t> </a:t>
            </a:r>
            <a:r>
              <a:rPr lang="ru-RU" sz="3200" b="1" dirty="0">
                <a:solidFill>
                  <a:srgbClr val="C00000"/>
                </a:solidFill>
                <a:latin typeface="Times New Roman" pitchFamily="18" charset="0"/>
              </a:rPr>
              <a:t>гепарин (</a:t>
            </a:r>
            <a:r>
              <a:rPr lang="ru-RU" sz="3200" b="1" dirty="0" smtClean="0">
                <a:solidFill>
                  <a:srgbClr val="C00000"/>
                </a:solidFill>
                <a:latin typeface="Times New Roman" pitchFamily="18" charset="0"/>
              </a:rPr>
              <a:t>НГ</a:t>
            </a:r>
            <a:r>
              <a:rPr lang="ru-RU" sz="3200" b="1" dirty="0">
                <a:solidFill>
                  <a:srgbClr val="C00000"/>
                </a:solidFill>
                <a:latin typeface="Times New Roman" pitchFamily="18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054818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16"/>
          <p:cNvSpPr>
            <a:spLocks noChangeArrowheads="1"/>
          </p:cNvSpPr>
          <p:nvPr/>
        </p:nvSpPr>
        <p:spPr bwMode="auto">
          <a:xfrm>
            <a:off x="468313" y="91606"/>
            <a:ext cx="8207374" cy="6610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 err="1">
                <a:solidFill>
                  <a:schemeClr val="tx2"/>
                </a:solidFill>
                <a:latin typeface="Times New Roman" pitchFamily="18" charset="0"/>
              </a:rPr>
              <a:t>Нефракционированный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 гепарин</a:t>
            </a: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457200" y="1484759"/>
            <a:ext cx="8507288" cy="4608537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ru-RU" altLang="zh-CN" sz="2000" b="1" dirty="0" smtClean="0">
                <a:solidFill>
                  <a:srgbClr val="C00000"/>
                </a:solidFill>
              </a:rPr>
              <a:t>АСС/АНА</a:t>
            </a:r>
            <a:r>
              <a:rPr lang="ru-RU" altLang="zh-CN" sz="2000" b="1" dirty="0" smtClean="0"/>
              <a:t> </a:t>
            </a:r>
            <a:r>
              <a:rPr lang="ru-RU" altLang="zh-CN" sz="2000" b="1" dirty="0" smtClean="0">
                <a:solidFill>
                  <a:srgbClr val="C00000"/>
                </a:solidFill>
              </a:rPr>
              <a:t>2008 </a:t>
            </a:r>
            <a:endParaRPr lang="ru-RU" altLang="zh-CN" sz="2000" b="1" dirty="0">
              <a:solidFill>
                <a:srgbClr val="C00000"/>
              </a:solidFill>
            </a:endParaRPr>
          </a:p>
          <a:p>
            <a:r>
              <a:rPr lang="ru-RU" altLang="zh-CN" sz="2000" dirty="0"/>
              <a:t>Продолженная  в/в или п/к подобранная адекватная доза </a:t>
            </a:r>
            <a:r>
              <a:rPr lang="ru-RU" altLang="zh-CN" sz="2000" dirty="0" smtClean="0"/>
              <a:t>НГ </a:t>
            </a:r>
            <a:r>
              <a:rPr lang="ru-RU" altLang="zh-CN" sz="2000" dirty="0"/>
              <a:t>между </a:t>
            </a:r>
            <a:r>
              <a:rPr lang="ru-RU" altLang="zh-CN" sz="2000" dirty="0" smtClean="0"/>
              <a:t/>
            </a:r>
            <a:br>
              <a:rPr lang="ru-RU" altLang="zh-CN" sz="2000" dirty="0" smtClean="0"/>
            </a:br>
            <a:r>
              <a:rPr lang="ru-RU" altLang="zh-CN" sz="2000" dirty="0" smtClean="0">
                <a:solidFill>
                  <a:srgbClr val="C00000"/>
                </a:solidFill>
              </a:rPr>
              <a:t>6–12 </a:t>
            </a:r>
            <a:r>
              <a:rPr lang="ru-RU" altLang="zh-CN" sz="2000" dirty="0" err="1">
                <a:solidFill>
                  <a:srgbClr val="C00000"/>
                </a:solidFill>
              </a:rPr>
              <a:t>нед</a:t>
            </a:r>
            <a:r>
              <a:rPr lang="ru-RU" altLang="zh-CN" sz="2000" dirty="0">
                <a:solidFill>
                  <a:srgbClr val="C00000"/>
                </a:solidFill>
              </a:rPr>
              <a:t>. </a:t>
            </a:r>
            <a:r>
              <a:rPr lang="ru-RU" altLang="zh-CN" sz="2000" dirty="0"/>
              <a:t>женщинам, которым решено прекратить прием варфарина (С).</a:t>
            </a:r>
          </a:p>
          <a:p>
            <a:r>
              <a:rPr lang="ru-RU" altLang="zh-CN" sz="2000" dirty="0"/>
              <a:t>Продолженная в/в или п/к подобранная доза </a:t>
            </a:r>
            <a:r>
              <a:rPr lang="ru-RU" altLang="zh-CN" sz="2000" dirty="0" smtClean="0"/>
              <a:t>НГ </a:t>
            </a:r>
            <a:r>
              <a:rPr lang="ru-RU" altLang="zh-CN" sz="2000" dirty="0"/>
              <a:t>во время всей беременности после полного обследования (С).</a:t>
            </a:r>
          </a:p>
          <a:p>
            <a:r>
              <a:rPr lang="ru-RU" altLang="zh-CN" sz="2000" dirty="0"/>
              <a:t>Продолженная в/в </a:t>
            </a:r>
            <a:r>
              <a:rPr lang="ru-RU" altLang="zh-CN" sz="2000" dirty="0">
                <a:solidFill>
                  <a:srgbClr val="C00000"/>
                </a:solidFill>
              </a:rPr>
              <a:t>2–3 </a:t>
            </a:r>
            <a:r>
              <a:rPr lang="ru-RU" altLang="zh-CN" sz="2000" dirty="0" err="1">
                <a:solidFill>
                  <a:srgbClr val="C00000"/>
                </a:solidFill>
              </a:rPr>
              <a:t>нед</a:t>
            </a:r>
            <a:r>
              <a:rPr lang="ru-RU" altLang="zh-CN" sz="2000" dirty="0"/>
              <a:t>. перед плановым </a:t>
            </a:r>
            <a:r>
              <a:rPr lang="ru-RU" altLang="zh-CN" sz="2000" dirty="0" err="1"/>
              <a:t>родоразрешением</a:t>
            </a:r>
            <a:r>
              <a:rPr lang="ru-RU" altLang="zh-CN" sz="2000" dirty="0"/>
              <a:t> (С).</a:t>
            </a:r>
          </a:p>
          <a:p>
            <a:pPr marL="0" indent="0">
              <a:buNone/>
            </a:pPr>
            <a:r>
              <a:rPr lang="ru-RU" altLang="zh-CN" sz="2000" b="1" dirty="0">
                <a:solidFill>
                  <a:srgbClr val="C00000"/>
                </a:solidFill>
              </a:rPr>
              <a:t>ESC 2011</a:t>
            </a:r>
          </a:p>
          <a:p>
            <a:r>
              <a:rPr lang="ru-RU" altLang="zh-CN" sz="2000" dirty="0"/>
              <a:t>Подобранная доза </a:t>
            </a:r>
            <a:r>
              <a:rPr lang="ru-RU" altLang="zh-CN" sz="2000" dirty="0" smtClean="0"/>
              <a:t>НГ </a:t>
            </a:r>
            <a:r>
              <a:rPr lang="ru-RU" altLang="zh-CN" sz="2000" dirty="0">
                <a:solidFill>
                  <a:srgbClr val="C00000"/>
                </a:solidFill>
              </a:rPr>
              <a:t>после 36 </a:t>
            </a:r>
            <a:r>
              <a:rPr lang="ru-RU" altLang="zh-CN" sz="2000" dirty="0" err="1">
                <a:solidFill>
                  <a:srgbClr val="C00000"/>
                </a:solidFill>
              </a:rPr>
              <a:t>нед</a:t>
            </a:r>
            <a:r>
              <a:rPr lang="ru-RU" altLang="zh-CN" sz="2000" dirty="0">
                <a:solidFill>
                  <a:srgbClr val="C00000"/>
                </a:solidFill>
              </a:rPr>
              <a:t>. </a:t>
            </a:r>
            <a:r>
              <a:rPr lang="ru-RU" altLang="zh-CN" sz="2000" dirty="0"/>
              <a:t>и между </a:t>
            </a:r>
            <a:r>
              <a:rPr lang="ru-RU" altLang="zh-CN" sz="2000" dirty="0">
                <a:solidFill>
                  <a:srgbClr val="C00000"/>
                </a:solidFill>
              </a:rPr>
              <a:t>6–12 </a:t>
            </a:r>
            <a:r>
              <a:rPr lang="ru-RU" altLang="zh-CN" sz="2000" dirty="0" err="1">
                <a:solidFill>
                  <a:srgbClr val="C00000"/>
                </a:solidFill>
              </a:rPr>
              <a:t>нед</a:t>
            </a:r>
            <a:r>
              <a:rPr lang="ru-RU" altLang="zh-CN" sz="2000" dirty="0">
                <a:solidFill>
                  <a:srgbClr val="C00000"/>
                </a:solidFill>
              </a:rPr>
              <a:t>.</a:t>
            </a:r>
            <a:r>
              <a:rPr lang="ru-RU" altLang="zh-CN" sz="2000" dirty="0"/>
              <a:t>, когда доза варфарина </a:t>
            </a:r>
            <a:r>
              <a:rPr lang="ru-RU" altLang="zh-CN" sz="2000" dirty="0" smtClean="0"/>
              <a:t>более 50 </a:t>
            </a:r>
            <a:r>
              <a:rPr lang="ru-RU" altLang="zh-CN" sz="2000" dirty="0"/>
              <a:t>мг/л (</a:t>
            </a:r>
            <a:r>
              <a:rPr lang="ru-RU" altLang="zh-CN" sz="2000" dirty="0" err="1"/>
              <a:t>IIa</a:t>
            </a:r>
            <a:r>
              <a:rPr lang="ru-RU" altLang="zh-CN" sz="2000" dirty="0"/>
              <a:t>), когда доза варфарина менее 50 мг/л (</a:t>
            </a:r>
            <a:r>
              <a:rPr lang="ru-RU" altLang="zh-CN" sz="2000" dirty="0" err="1"/>
              <a:t>IIb</a:t>
            </a:r>
            <a:r>
              <a:rPr lang="ru-RU" altLang="zh-CN" sz="2000" dirty="0"/>
              <a:t>).</a:t>
            </a:r>
          </a:p>
          <a:p>
            <a:pPr marL="0" indent="0">
              <a:buNone/>
            </a:pPr>
            <a:r>
              <a:rPr lang="ru-RU" altLang="zh-CN" sz="2000" b="1" dirty="0">
                <a:solidFill>
                  <a:srgbClr val="C00000"/>
                </a:solidFill>
              </a:rPr>
              <a:t>ACC </a:t>
            </a:r>
          </a:p>
          <a:p>
            <a:r>
              <a:rPr lang="ru-RU" altLang="zh-CN" sz="2000" dirty="0"/>
              <a:t>Подобранная доза </a:t>
            </a:r>
            <a:r>
              <a:rPr lang="ru-RU" altLang="zh-CN" sz="2000" dirty="0" smtClean="0"/>
              <a:t>НГ </a:t>
            </a:r>
            <a:r>
              <a:rPr lang="ru-RU" altLang="zh-CN" sz="2000" dirty="0"/>
              <a:t>в течение всей беременности (</a:t>
            </a:r>
            <a:r>
              <a:rPr lang="ru-RU" altLang="zh-CN" sz="2000" dirty="0" err="1"/>
              <a:t>Ia</a:t>
            </a:r>
            <a:r>
              <a:rPr lang="ru-RU" altLang="zh-CN" sz="2000" dirty="0"/>
              <a:t>).</a:t>
            </a:r>
          </a:p>
          <a:p>
            <a:r>
              <a:rPr lang="ru-RU" altLang="zh-CN" sz="2000" dirty="0"/>
              <a:t>Подобранная доза </a:t>
            </a:r>
            <a:r>
              <a:rPr lang="ru-RU" altLang="zh-CN" sz="2000" dirty="0" smtClean="0"/>
              <a:t>НГ </a:t>
            </a:r>
            <a:r>
              <a:rPr lang="ru-RU" altLang="zh-CN" sz="2000" dirty="0">
                <a:solidFill>
                  <a:srgbClr val="C00000"/>
                </a:solidFill>
              </a:rPr>
              <a:t>до 13 </a:t>
            </a:r>
            <a:r>
              <a:rPr lang="ru-RU" altLang="zh-CN" sz="2000" dirty="0" err="1">
                <a:solidFill>
                  <a:srgbClr val="C00000"/>
                </a:solidFill>
              </a:rPr>
              <a:t>нед</a:t>
            </a:r>
            <a:r>
              <a:rPr lang="ru-RU" altLang="zh-CN" sz="2000" dirty="0">
                <a:solidFill>
                  <a:srgbClr val="C00000"/>
                </a:solidFill>
              </a:rPr>
              <a:t>. </a:t>
            </a:r>
            <a:r>
              <a:rPr lang="ru-RU" altLang="zh-CN" sz="2000" dirty="0"/>
              <a:t>(IA).</a:t>
            </a:r>
          </a:p>
          <a:p>
            <a:r>
              <a:rPr lang="ru-RU" altLang="zh-CN" sz="2000" dirty="0"/>
              <a:t>Мониторинг: доза, титров анналы до </a:t>
            </a:r>
            <a:r>
              <a:rPr lang="ru-RU" altLang="zh-CN" sz="2000" dirty="0" smtClean="0"/>
              <a:t>АЧТВ </a:t>
            </a:r>
            <a:r>
              <a:rPr lang="en-US" altLang="zh-CN" sz="2000" dirty="0" smtClean="0"/>
              <a:t>&gt;</a:t>
            </a:r>
            <a:r>
              <a:rPr lang="ru-RU" altLang="zh-CN" sz="2000" dirty="0" smtClean="0"/>
              <a:t>2 </a:t>
            </a:r>
            <a:r>
              <a:rPr lang="ru-RU" altLang="zh-CN" sz="2000" dirty="0"/>
              <a:t>х контроль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46087" y="993813"/>
            <a:ext cx="30924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j-lt"/>
              </a:rPr>
              <a:t>Рекомендации руководства </a:t>
            </a:r>
          </a:p>
        </p:txBody>
      </p:sp>
    </p:spTree>
    <p:extLst>
      <p:ext uri="{BB962C8B-B14F-4D97-AF65-F5344CB8AC3E}">
        <p14:creationId xmlns:p14="http://schemas.microsoft.com/office/powerpoint/2010/main" val="1058617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2" y="251217"/>
            <a:ext cx="8207375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Потенциальные причины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низкой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эффективности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НГ</a:t>
            </a:r>
            <a:endParaRPr lang="ru-RU" sz="3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57200" y="1628775"/>
            <a:ext cx="8229600" cy="2736329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Непредсказуемая </a:t>
            </a:r>
            <a:r>
              <a:rPr lang="ru-RU" altLang="zh-CN" sz="2200" dirty="0" err="1"/>
              <a:t>биодоступность</a:t>
            </a:r>
            <a:r>
              <a:rPr lang="ru-RU" altLang="zh-CN" sz="2200" dirty="0"/>
              <a:t> (изменчивое, не постоянное связывание с эндотелием, моноцитами и белками плазмы), приводящее к:</a:t>
            </a:r>
          </a:p>
          <a:p>
            <a:r>
              <a:rPr lang="ru-RU" altLang="zh-CN" sz="2200" dirty="0" smtClean="0"/>
              <a:t>большей </a:t>
            </a:r>
            <a:r>
              <a:rPr lang="ru-RU" altLang="zh-CN" sz="2200" dirty="0" err="1"/>
              <a:t>интер</a:t>
            </a:r>
            <a:r>
              <a:rPr lang="ru-RU" altLang="zh-CN" sz="2200" dirty="0"/>
              <a:t>- и </a:t>
            </a:r>
            <a:r>
              <a:rPr lang="ru-RU" altLang="zh-CN" sz="2200" dirty="0" err="1"/>
              <a:t>интра</a:t>
            </a:r>
            <a:r>
              <a:rPr lang="ru-RU" altLang="zh-CN" sz="2200" dirty="0"/>
              <a:t>- изменчивости.</a:t>
            </a:r>
          </a:p>
          <a:p>
            <a:r>
              <a:rPr lang="ru-RU" altLang="zh-CN" sz="2200" dirty="0"/>
              <a:t>Короткий период </a:t>
            </a:r>
            <a:r>
              <a:rPr lang="ru-RU" altLang="zh-CN" sz="2200" dirty="0" err="1"/>
              <a:t>полужизни</a:t>
            </a:r>
            <a:r>
              <a:rPr lang="ru-RU" altLang="zh-CN" sz="2200" dirty="0"/>
              <a:t> (увеличенный </a:t>
            </a:r>
            <a:r>
              <a:rPr lang="ru-RU" altLang="zh-CN" sz="2200" dirty="0" smtClean="0"/>
              <a:t>почечный клиренс </a:t>
            </a:r>
            <a:r>
              <a:rPr lang="ru-RU" altLang="zh-CN" sz="2200" dirty="0"/>
              <a:t>во время беременности) приводит к </a:t>
            </a:r>
            <a:r>
              <a:rPr lang="ru-RU" altLang="zh-CN" sz="2200" dirty="0" err="1"/>
              <a:t>субтерапевтическом</a:t>
            </a:r>
            <a:r>
              <a:rPr lang="ru-RU" altLang="zh-CN" sz="2200" dirty="0"/>
              <a:t> концентрациям.</a:t>
            </a:r>
          </a:p>
        </p:txBody>
      </p:sp>
    </p:spTree>
    <p:extLst>
      <p:ext uri="{BB962C8B-B14F-4D97-AF65-F5344CB8AC3E}">
        <p14:creationId xmlns:p14="http://schemas.microsoft.com/office/powerpoint/2010/main" val="196415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2" y="251217"/>
            <a:ext cx="8207375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Потенциальные причины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низкой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эффективности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НГ</a:t>
            </a:r>
            <a:endParaRPr lang="ru-RU" sz="3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57200" y="1628775"/>
            <a:ext cx="8229600" cy="1944241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Рекомендованные руководствами значения АЧТВ &gt;2.0х контроль могут быть слишком низкими для пациентов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с </a:t>
            </a:r>
            <a:r>
              <a:rPr lang="ru-RU" altLang="zh-CN" sz="2200" dirty="0"/>
              <a:t>механическими клапанами сердца (установлены </a:t>
            </a:r>
            <a:r>
              <a:rPr lang="ru-RU" altLang="zh-CN" sz="2200" dirty="0" smtClean="0"/>
              <a:t>для </a:t>
            </a:r>
            <a:r>
              <a:rPr lang="ru-RU" altLang="zh-CN" sz="2200" dirty="0"/>
              <a:t>профилактики тромбоза глубоких вен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и </a:t>
            </a:r>
            <a:r>
              <a:rPr lang="ru-RU" altLang="zh-CN" sz="2200" dirty="0"/>
              <a:t>эквивалентный ~0,4 МЕ гепарин/мл)</a:t>
            </a:r>
          </a:p>
        </p:txBody>
      </p:sp>
    </p:spTree>
    <p:extLst>
      <p:ext uri="{BB962C8B-B14F-4D97-AF65-F5344CB8AC3E}">
        <p14:creationId xmlns:p14="http://schemas.microsoft.com/office/powerpoint/2010/main" val="415139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RcqWN3xEaNVtEoGRzOaA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5">
      <a:dk1>
        <a:srgbClr val="000000"/>
      </a:dk1>
      <a:lt1>
        <a:srgbClr val="FFFFD9"/>
      </a:lt1>
      <a:dk2>
        <a:srgbClr val="000000"/>
      </a:dk2>
      <a:lt2>
        <a:srgbClr val="777777"/>
      </a:lt2>
      <a:accent1>
        <a:srgbClr val="FFFFF7"/>
      </a:accent1>
      <a:accent2>
        <a:srgbClr val="33CCCC"/>
      </a:accent2>
      <a:accent3>
        <a:srgbClr val="FFFFE9"/>
      </a:accent3>
      <a:accent4>
        <a:srgbClr val="000000"/>
      </a:accent4>
      <a:accent5>
        <a:srgbClr val="FFFFFA"/>
      </a:accent5>
      <a:accent6>
        <a:srgbClr val="2DB9B9"/>
      </a:accent6>
      <a:hlink>
        <a:srgbClr val="FF5050"/>
      </a:hlink>
      <a:folHlink>
        <a:srgbClr val="FF9900"/>
      </a:folHlink>
    </a:clrScheme>
    <a:fontScheme name="Оформление по умолчанию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86</TotalTime>
  <Words>1365</Words>
  <Application>Microsoft Office PowerPoint</Application>
  <PresentationFormat>Экран (4:3)</PresentationFormat>
  <Paragraphs>183</Paragraphs>
  <Slides>38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8</vt:i4>
      </vt:variant>
    </vt:vector>
  </HeadingPairs>
  <TitlesOfParts>
    <vt:vector size="40" baseType="lpstr">
      <vt:lpstr>Оформление по умолчанию</vt:lpstr>
      <vt:lpstr>Char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Биологические препараты и биоаналоги  Сложность строения биологических препаратов - IV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hom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ичины материнских смертей 2000-2002 г.г.  Конфиденциальный опрос</dc:title>
  <dc:creator>comp</dc:creator>
  <cp:lastModifiedBy>Efim</cp:lastModifiedBy>
  <cp:revision>379</cp:revision>
  <dcterms:created xsi:type="dcterms:W3CDTF">2006-06-13T18:26:49Z</dcterms:created>
  <dcterms:modified xsi:type="dcterms:W3CDTF">2015-01-29T08:08:15Z</dcterms:modified>
</cp:coreProperties>
</file>